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6"/>
  </p:notesMasterIdLst>
  <p:sldIdLst>
    <p:sldId id="283" r:id="rId2"/>
    <p:sldId id="261" r:id="rId3"/>
    <p:sldId id="257" r:id="rId4"/>
    <p:sldId id="259" r:id="rId5"/>
    <p:sldId id="260" r:id="rId6"/>
    <p:sldId id="263" r:id="rId7"/>
    <p:sldId id="266" r:id="rId8"/>
    <p:sldId id="267" r:id="rId9"/>
    <p:sldId id="262" r:id="rId10"/>
    <p:sldId id="281" r:id="rId11"/>
    <p:sldId id="265" r:id="rId12"/>
    <p:sldId id="268" r:id="rId13"/>
    <p:sldId id="269" r:id="rId14"/>
    <p:sldId id="270" r:id="rId15"/>
    <p:sldId id="282" r:id="rId16"/>
    <p:sldId id="271" r:id="rId17"/>
    <p:sldId id="272" r:id="rId18"/>
    <p:sldId id="273" r:id="rId19"/>
    <p:sldId id="275" r:id="rId20"/>
    <p:sldId id="276" r:id="rId21"/>
    <p:sldId id="279" r:id="rId22"/>
    <p:sldId id="277" r:id="rId23"/>
    <p:sldId id="278" r:id="rId24"/>
    <p:sldId id="280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1001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4432" autoAdjust="0"/>
  </p:normalViewPr>
  <p:slideViewPr>
    <p:cSldViewPr snapToGrid="0">
      <p:cViewPr varScale="1">
        <p:scale>
          <a:sx n="60" d="100"/>
          <a:sy n="60" d="100"/>
        </p:scale>
        <p:origin x="72" y="11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B54FDE3-2C3D-4644-B680-37E412769733}" type="doc">
      <dgm:prSet loTypeId="urn:microsoft.com/office/officeart/2008/layout/LinedList" loCatId="list" qsTypeId="urn:microsoft.com/office/officeart/2005/8/quickstyle/simple1" qsCatId="simple" csTypeId="urn:microsoft.com/office/officeart/2005/8/colors/colorful1" csCatId="colorful"/>
      <dgm:spPr/>
      <dgm:t>
        <a:bodyPr/>
        <a:lstStyle/>
        <a:p>
          <a:endParaRPr lang="en-US"/>
        </a:p>
      </dgm:t>
    </dgm:pt>
    <dgm:pt modelId="{C27E277F-98B2-4891-8A4E-643001AEB3F3}">
      <dgm:prSet/>
      <dgm:spPr/>
      <dgm:t>
        <a:bodyPr/>
        <a:lstStyle/>
        <a:p>
          <a:r>
            <a:rPr lang="de-DE"/>
            <a:t>Aufbau der Anlage</a:t>
          </a:r>
          <a:endParaRPr lang="en-US"/>
        </a:p>
      </dgm:t>
    </dgm:pt>
    <dgm:pt modelId="{75C53527-B248-4F17-91FE-8C5CD0ACB4F0}" type="parTrans" cxnId="{845016DB-9880-4313-8769-0C4A7A62EE70}">
      <dgm:prSet/>
      <dgm:spPr/>
      <dgm:t>
        <a:bodyPr/>
        <a:lstStyle/>
        <a:p>
          <a:endParaRPr lang="en-US"/>
        </a:p>
      </dgm:t>
    </dgm:pt>
    <dgm:pt modelId="{D28B3614-B581-4606-A61C-86BD0E7EE601}" type="sibTrans" cxnId="{845016DB-9880-4313-8769-0C4A7A62EE70}">
      <dgm:prSet/>
      <dgm:spPr/>
      <dgm:t>
        <a:bodyPr/>
        <a:lstStyle/>
        <a:p>
          <a:endParaRPr lang="en-US"/>
        </a:p>
      </dgm:t>
    </dgm:pt>
    <dgm:pt modelId="{E2C333CA-F0DF-41B4-BB17-E9FBF3E03142}">
      <dgm:prSet/>
      <dgm:spPr/>
      <dgm:t>
        <a:bodyPr/>
        <a:lstStyle/>
        <a:p>
          <a:r>
            <a:rPr lang="de-DE"/>
            <a:t>Telegramme und Image</a:t>
          </a:r>
          <a:endParaRPr lang="en-US"/>
        </a:p>
      </dgm:t>
    </dgm:pt>
    <dgm:pt modelId="{AC49315A-00F7-4264-9235-8D17CC7DD2B6}" type="parTrans" cxnId="{79EE081A-BEFD-49F2-9007-1CE1BB40272C}">
      <dgm:prSet/>
      <dgm:spPr/>
      <dgm:t>
        <a:bodyPr/>
        <a:lstStyle/>
        <a:p>
          <a:endParaRPr lang="en-US"/>
        </a:p>
      </dgm:t>
    </dgm:pt>
    <dgm:pt modelId="{A438F16B-CA01-4C5E-822A-766B947BF5CA}" type="sibTrans" cxnId="{79EE081A-BEFD-49F2-9007-1CE1BB40272C}">
      <dgm:prSet/>
      <dgm:spPr/>
      <dgm:t>
        <a:bodyPr/>
        <a:lstStyle/>
        <a:p>
          <a:endParaRPr lang="en-US"/>
        </a:p>
      </dgm:t>
    </dgm:pt>
    <dgm:pt modelId="{EF68F7E2-D0C2-4D01-B5AB-917B5AFCE449}">
      <dgm:prSet/>
      <dgm:spPr/>
      <dgm:t>
        <a:bodyPr/>
        <a:lstStyle/>
        <a:p>
          <a:r>
            <a:rPr lang="de-DE"/>
            <a:t>Visualisierung</a:t>
          </a:r>
          <a:endParaRPr lang="en-US"/>
        </a:p>
      </dgm:t>
    </dgm:pt>
    <dgm:pt modelId="{01BC0168-A79A-4A08-A1FB-24708F8B9390}" type="parTrans" cxnId="{A9B75C08-1D55-4EDB-9447-C53A7907D74C}">
      <dgm:prSet/>
      <dgm:spPr/>
      <dgm:t>
        <a:bodyPr/>
        <a:lstStyle/>
        <a:p>
          <a:endParaRPr lang="en-US"/>
        </a:p>
      </dgm:t>
    </dgm:pt>
    <dgm:pt modelId="{C24696F5-C045-42DD-8605-B05B6CCED3D0}" type="sibTrans" cxnId="{A9B75C08-1D55-4EDB-9447-C53A7907D74C}">
      <dgm:prSet/>
      <dgm:spPr/>
      <dgm:t>
        <a:bodyPr/>
        <a:lstStyle/>
        <a:p>
          <a:endParaRPr lang="en-US"/>
        </a:p>
      </dgm:t>
    </dgm:pt>
    <dgm:pt modelId="{5E8ADC64-0F18-492B-957A-CC6CF2C79465}">
      <dgm:prSet/>
      <dgm:spPr/>
      <dgm:t>
        <a:bodyPr/>
        <a:lstStyle/>
        <a:p>
          <a:r>
            <a:rPr lang="de-DE" dirty="0"/>
            <a:t>Move Modul</a:t>
          </a:r>
          <a:endParaRPr lang="en-US" dirty="0"/>
        </a:p>
      </dgm:t>
    </dgm:pt>
    <dgm:pt modelId="{95679D65-4341-4F3E-BF0E-4F053E53D51A}" type="parTrans" cxnId="{3E6A90DC-985F-4B3D-9936-60E5E845D934}">
      <dgm:prSet/>
      <dgm:spPr/>
      <dgm:t>
        <a:bodyPr/>
        <a:lstStyle/>
        <a:p>
          <a:endParaRPr lang="en-US"/>
        </a:p>
      </dgm:t>
    </dgm:pt>
    <dgm:pt modelId="{0D134772-D2B5-475F-8C32-FFEE2784709E}" type="sibTrans" cxnId="{3E6A90DC-985F-4B3D-9936-60E5E845D934}">
      <dgm:prSet/>
      <dgm:spPr/>
      <dgm:t>
        <a:bodyPr/>
        <a:lstStyle/>
        <a:p>
          <a:endParaRPr lang="en-US"/>
        </a:p>
      </dgm:t>
    </dgm:pt>
    <dgm:pt modelId="{616E8AD9-6FED-4424-8035-D567AC933E3B}">
      <dgm:prSet/>
      <dgm:spPr/>
      <dgm:t>
        <a:bodyPr/>
        <a:lstStyle/>
        <a:p>
          <a:r>
            <a:rPr lang="de-DE"/>
            <a:t>Test</a:t>
          </a:r>
          <a:endParaRPr lang="en-US"/>
        </a:p>
      </dgm:t>
    </dgm:pt>
    <dgm:pt modelId="{EA7D5183-5D4D-4204-BC75-66513F663582}" type="parTrans" cxnId="{C917A966-CD28-4867-9251-A8F72C513050}">
      <dgm:prSet/>
      <dgm:spPr/>
      <dgm:t>
        <a:bodyPr/>
        <a:lstStyle/>
        <a:p>
          <a:endParaRPr lang="en-US"/>
        </a:p>
      </dgm:t>
    </dgm:pt>
    <dgm:pt modelId="{A0249937-2FDB-4A24-8B03-EF27989C3389}" type="sibTrans" cxnId="{C917A966-CD28-4867-9251-A8F72C513050}">
      <dgm:prSet/>
      <dgm:spPr/>
      <dgm:t>
        <a:bodyPr/>
        <a:lstStyle/>
        <a:p>
          <a:endParaRPr lang="en-US"/>
        </a:p>
      </dgm:t>
    </dgm:pt>
    <dgm:pt modelId="{7A779064-392B-4E41-86D6-8B04256BD45E}">
      <dgm:prSet/>
      <dgm:spPr/>
      <dgm:t>
        <a:bodyPr/>
        <a:lstStyle/>
        <a:p>
          <a:r>
            <a:rPr lang="de-DE"/>
            <a:t>Fazit </a:t>
          </a:r>
          <a:endParaRPr lang="en-US"/>
        </a:p>
      </dgm:t>
    </dgm:pt>
    <dgm:pt modelId="{2C3E2B5B-184A-4862-84D5-74706A1DC7AC}" type="parTrans" cxnId="{FD41B3F8-FCA5-4464-9D09-653F896F5B50}">
      <dgm:prSet/>
      <dgm:spPr/>
      <dgm:t>
        <a:bodyPr/>
        <a:lstStyle/>
        <a:p>
          <a:endParaRPr lang="en-US"/>
        </a:p>
      </dgm:t>
    </dgm:pt>
    <dgm:pt modelId="{42899169-CFC4-42E0-A44A-71D21DF83463}" type="sibTrans" cxnId="{FD41B3F8-FCA5-4464-9D09-653F896F5B50}">
      <dgm:prSet/>
      <dgm:spPr/>
      <dgm:t>
        <a:bodyPr/>
        <a:lstStyle/>
        <a:p>
          <a:endParaRPr lang="en-US"/>
        </a:p>
      </dgm:t>
    </dgm:pt>
    <dgm:pt modelId="{3BB0979D-6F64-4C1E-8264-F965E7CA5644}">
      <dgm:prSet/>
      <dgm:spPr/>
      <dgm:t>
        <a:bodyPr/>
        <a:lstStyle/>
        <a:p>
          <a:r>
            <a:rPr lang="de-DE"/>
            <a:t>Zukunft</a:t>
          </a:r>
          <a:endParaRPr lang="en-US"/>
        </a:p>
      </dgm:t>
    </dgm:pt>
    <dgm:pt modelId="{D9331946-C4FD-446A-9C61-8BDB77C20D0E}" type="parTrans" cxnId="{BA407375-96C4-4F61-A5EB-B60EE7ABAFC4}">
      <dgm:prSet/>
      <dgm:spPr/>
      <dgm:t>
        <a:bodyPr/>
        <a:lstStyle/>
        <a:p>
          <a:endParaRPr lang="en-US"/>
        </a:p>
      </dgm:t>
    </dgm:pt>
    <dgm:pt modelId="{701B0CA1-5B42-4B64-B172-A24251F732BD}" type="sibTrans" cxnId="{BA407375-96C4-4F61-A5EB-B60EE7ABAFC4}">
      <dgm:prSet/>
      <dgm:spPr/>
      <dgm:t>
        <a:bodyPr/>
        <a:lstStyle/>
        <a:p>
          <a:endParaRPr lang="en-US"/>
        </a:p>
      </dgm:t>
    </dgm:pt>
    <dgm:pt modelId="{00259D31-5668-46AC-8475-5968B2774A8B}" type="pres">
      <dgm:prSet presAssocID="{1B54FDE3-2C3D-4644-B680-37E412769733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de-DE"/>
        </a:p>
      </dgm:t>
    </dgm:pt>
    <dgm:pt modelId="{55928023-072F-4297-879C-E36572CD332D}" type="pres">
      <dgm:prSet presAssocID="{C27E277F-98B2-4891-8A4E-643001AEB3F3}" presName="thickLine" presStyleLbl="alignNode1" presStyleIdx="0" presStyleCnt="7"/>
      <dgm:spPr/>
    </dgm:pt>
    <dgm:pt modelId="{996FD099-9EF4-4F2E-9015-8860A524552B}" type="pres">
      <dgm:prSet presAssocID="{C27E277F-98B2-4891-8A4E-643001AEB3F3}" presName="horz1" presStyleCnt="0"/>
      <dgm:spPr/>
    </dgm:pt>
    <dgm:pt modelId="{2BF75A24-8C4F-40B4-8F00-9BB92CF67D9B}" type="pres">
      <dgm:prSet presAssocID="{C27E277F-98B2-4891-8A4E-643001AEB3F3}" presName="tx1" presStyleLbl="revTx" presStyleIdx="0" presStyleCnt="7"/>
      <dgm:spPr/>
      <dgm:t>
        <a:bodyPr/>
        <a:lstStyle/>
        <a:p>
          <a:endParaRPr lang="de-DE"/>
        </a:p>
      </dgm:t>
    </dgm:pt>
    <dgm:pt modelId="{F2962D39-9E10-45BE-A7D2-16065ED8F057}" type="pres">
      <dgm:prSet presAssocID="{C27E277F-98B2-4891-8A4E-643001AEB3F3}" presName="vert1" presStyleCnt="0"/>
      <dgm:spPr/>
    </dgm:pt>
    <dgm:pt modelId="{5A80305A-A810-452F-98AC-7CEF73B9DB5E}" type="pres">
      <dgm:prSet presAssocID="{E2C333CA-F0DF-41B4-BB17-E9FBF3E03142}" presName="thickLine" presStyleLbl="alignNode1" presStyleIdx="1" presStyleCnt="7"/>
      <dgm:spPr/>
    </dgm:pt>
    <dgm:pt modelId="{DC8AE3C5-ABD2-4FD5-BCA5-831B47B67A68}" type="pres">
      <dgm:prSet presAssocID="{E2C333CA-F0DF-41B4-BB17-E9FBF3E03142}" presName="horz1" presStyleCnt="0"/>
      <dgm:spPr/>
    </dgm:pt>
    <dgm:pt modelId="{D5136C6D-008F-4E36-8C24-CD9E34661A2E}" type="pres">
      <dgm:prSet presAssocID="{E2C333CA-F0DF-41B4-BB17-E9FBF3E03142}" presName="tx1" presStyleLbl="revTx" presStyleIdx="1" presStyleCnt="7"/>
      <dgm:spPr/>
      <dgm:t>
        <a:bodyPr/>
        <a:lstStyle/>
        <a:p>
          <a:endParaRPr lang="de-DE"/>
        </a:p>
      </dgm:t>
    </dgm:pt>
    <dgm:pt modelId="{38A173DD-6D02-41F2-8AF4-DFCACB7C6ADD}" type="pres">
      <dgm:prSet presAssocID="{E2C333CA-F0DF-41B4-BB17-E9FBF3E03142}" presName="vert1" presStyleCnt="0"/>
      <dgm:spPr/>
    </dgm:pt>
    <dgm:pt modelId="{F475C09C-4B93-4EB7-A5DA-0C39C0941E1A}" type="pres">
      <dgm:prSet presAssocID="{EF68F7E2-D0C2-4D01-B5AB-917B5AFCE449}" presName="thickLine" presStyleLbl="alignNode1" presStyleIdx="2" presStyleCnt="7"/>
      <dgm:spPr/>
    </dgm:pt>
    <dgm:pt modelId="{B8DAAC14-526C-4B97-800C-BE63C9021A04}" type="pres">
      <dgm:prSet presAssocID="{EF68F7E2-D0C2-4D01-B5AB-917B5AFCE449}" presName="horz1" presStyleCnt="0"/>
      <dgm:spPr/>
    </dgm:pt>
    <dgm:pt modelId="{79EA0E0B-6A82-4C99-9A1E-56DAA42E93BD}" type="pres">
      <dgm:prSet presAssocID="{EF68F7E2-D0C2-4D01-B5AB-917B5AFCE449}" presName="tx1" presStyleLbl="revTx" presStyleIdx="2" presStyleCnt="7"/>
      <dgm:spPr/>
      <dgm:t>
        <a:bodyPr/>
        <a:lstStyle/>
        <a:p>
          <a:endParaRPr lang="de-DE"/>
        </a:p>
      </dgm:t>
    </dgm:pt>
    <dgm:pt modelId="{81984C09-13C0-4BEB-9590-CCEFC9666BD6}" type="pres">
      <dgm:prSet presAssocID="{EF68F7E2-D0C2-4D01-B5AB-917B5AFCE449}" presName="vert1" presStyleCnt="0"/>
      <dgm:spPr/>
    </dgm:pt>
    <dgm:pt modelId="{5B703EF1-B5DB-4772-A524-E06418A7C90C}" type="pres">
      <dgm:prSet presAssocID="{5E8ADC64-0F18-492B-957A-CC6CF2C79465}" presName="thickLine" presStyleLbl="alignNode1" presStyleIdx="3" presStyleCnt="7"/>
      <dgm:spPr/>
    </dgm:pt>
    <dgm:pt modelId="{FC3DC302-188B-4E10-B892-96B64C4522B3}" type="pres">
      <dgm:prSet presAssocID="{5E8ADC64-0F18-492B-957A-CC6CF2C79465}" presName="horz1" presStyleCnt="0"/>
      <dgm:spPr/>
    </dgm:pt>
    <dgm:pt modelId="{DAF8BC61-4BCF-4C8D-826C-B7922E32BA3C}" type="pres">
      <dgm:prSet presAssocID="{5E8ADC64-0F18-492B-957A-CC6CF2C79465}" presName="tx1" presStyleLbl="revTx" presStyleIdx="3" presStyleCnt="7"/>
      <dgm:spPr/>
      <dgm:t>
        <a:bodyPr/>
        <a:lstStyle/>
        <a:p>
          <a:endParaRPr lang="de-DE"/>
        </a:p>
      </dgm:t>
    </dgm:pt>
    <dgm:pt modelId="{A7AAE3DB-34AA-4A0A-BDC3-ED4879422DF0}" type="pres">
      <dgm:prSet presAssocID="{5E8ADC64-0F18-492B-957A-CC6CF2C79465}" presName="vert1" presStyleCnt="0"/>
      <dgm:spPr/>
    </dgm:pt>
    <dgm:pt modelId="{E35F2974-5F7A-427F-929B-E8CD735BA162}" type="pres">
      <dgm:prSet presAssocID="{616E8AD9-6FED-4424-8035-D567AC933E3B}" presName="thickLine" presStyleLbl="alignNode1" presStyleIdx="4" presStyleCnt="7"/>
      <dgm:spPr/>
    </dgm:pt>
    <dgm:pt modelId="{47F3B77D-69A3-470B-97E7-DF3B36156035}" type="pres">
      <dgm:prSet presAssocID="{616E8AD9-6FED-4424-8035-D567AC933E3B}" presName="horz1" presStyleCnt="0"/>
      <dgm:spPr/>
    </dgm:pt>
    <dgm:pt modelId="{4C82E03E-AD8D-4350-BA1A-1FD16EDA6B0C}" type="pres">
      <dgm:prSet presAssocID="{616E8AD9-6FED-4424-8035-D567AC933E3B}" presName="tx1" presStyleLbl="revTx" presStyleIdx="4" presStyleCnt="7"/>
      <dgm:spPr/>
      <dgm:t>
        <a:bodyPr/>
        <a:lstStyle/>
        <a:p>
          <a:endParaRPr lang="de-DE"/>
        </a:p>
      </dgm:t>
    </dgm:pt>
    <dgm:pt modelId="{17644C23-9769-4102-AF69-814F05850F78}" type="pres">
      <dgm:prSet presAssocID="{616E8AD9-6FED-4424-8035-D567AC933E3B}" presName="vert1" presStyleCnt="0"/>
      <dgm:spPr/>
    </dgm:pt>
    <dgm:pt modelId="{BCD4A890-D6E7-4390-A534-80C3A6C68784}" type="pres">
      <dgm:prSet presAssocID="{7A779064-392B-4E41-86D6-8B04256BD45E}" presName="thickLine" presStyleLbl="alignNode1" presStyleIdx="5" presStyleCnt="7"/>
      <dgm:spPr/>
    </dgm:pt>
    <dgm:pt modelId="{71BC4CD1-3F44-42E9-B7B0-60C95DC896C4}" type="pres">
      <dgm:prSet presAssocID="{7A779064-392B-4E41-86D6-8B04256BD45E}" presName="horz1" presStyleCnt="0"/>
      <dgm:spPr/>
    </dgm:pt>
    <dgm:pt modelId="{7C388A7D-90E4-4E2A-975F-061AFB8E09A0}" type="pres">
      <dgm:prSet presAssocID="{7A779064-392B-4E41-86D6-8B04256BD45E}" presName="tx1" presStyleLbl="revTx" presStyleIdx="5" presStyleCnt="7"/>
      <dgm:spPr/>
      <dgm:t>
        <a:bodyPr/>
        <a:lstStyle/>
        <a:p>
          <a:endParaRPr lang="de-DE"/>
        </a:p>
      </dgm:t>
    </dgm:pt>
    <dgm:pt modelId="{FD07C8DA-9372-4642-89BA-9DAB883A23C6}" type="pres">
      <dgm:prSet presAssocID="{7A779064-392B-4E41-86D6-8B04256BD45E}" presName="vert1" presStyleCnt="0"/>
      <dgm:spPr/>
    </dgm:pt>
    <dgm:pt modelId="{A3FEB88E-9277-4F95-83D4-11B6843A134A}" type="pres">
      <dgm:prSet presAssocID="{3BB0979D-6F64-4C1E-8264-F965E7CA5644}" presName="thickLine" presStyleLbl="alignNode1" presStyleIdx="6" presStyleCnt="7"/>
      <dgm:spPr/>
    </dgm:pt>
    <dgm:pt modelId="{B9381A40-E385-415D-B75D-6125104118D9}" type="pres">
      <dgm:prSet presAssocID="{3BB0979D-6F64-4C1E-8264-F965E7CA5644}" presName="horz1" presStyleCnt="0"/>
      <dgm:spPr/>
    </dgm:pt>
    <dgm:pt modelId="{05BFFCCE-3C11-4737-B52B-913939E90CC5}" type="pres">
      <dgm:prSet presAssocID="{3BB0979D-6F64-4C1E-8264-F965E7CA5644}" presName="tx1" presStyleLbl="revTx" presStyleIdx="6" presStyleCnt="7"/>
      <dgm:spPr/>
      <dgm:t>
        <a:bodyPr/>
        <a:lstStyle/>
        <a:p>
          <a:endParaRPr lang="de-DE"/>
        </a:p>
      </dgm:t>
    </dgm:pt>
    <dgm:pt modelId="{BA790071-E0F2-4F21-A124-7816F3C984D2}" type="pres">
      <dgm:prSet presAssocID="{3BB0979D-6F64-4C1E-8264-F965E7CA5644}" presName="vert1" presStyleCnt="0"/>
      <dgm:spPr/>
    </dgm:pt>
  </dgm:ptLst>
  <dgm:cxnLst>
    <dgm:cxn modelId="{845016DB-9880-4313-8769-0C4A7A62EE70}" srcId="{1B54FDE3-2C3D-4644-B680-37E412769733}" destId="{C27E277F-98B2-4891-8A4E-643001AEB3F3}" srcOrd="0" destOrd="0" parTransId="{75C53527-B248-4F17-91FE-8C5CD0ACB4F0}" sibTransId="{D28B3614-B581-4606-A61C-86BD0E7EE601}"/>
    <dgm:cxn modelId="{79EE081A-BEFD-49F2-9007-1CE1BB40272C}" srcId="{1B54FDE3-2C3D-4644-B680-37E412769733}" destId="{E2C333CA-F0DF-41B4-BB17-E9FBF3E03142}" srcOrd="1" destOrd="0" parTransId="{AC49315A-00F7-4264-9235-8D17CC7DD2B6}" sibTransId="{A438F16B-CA01-4C5E-822A-766B947BF5CA}"/>
    <dgm:cxn modelId="{FD41B3F8-FCA5-4464-9D09-653F896F5B50}" srcId="{1B54FDE3-2C3D-4644-B680-37E412769733}" destId="{7A779064-392B-4E41-86D6-8B04256BD45E}" srcOrd="5" destOrd="0" parTransId="{2C3E2B5B-184A-4862-84D5-74706A1DC7AC}" sibTransId="{42899169-CFC4-42E0-A44A-71D21DF83463}"/>
    <dgm:cxn modelId="{C917A966-CD28-4867-9251-A8F72C513050}" srcId="{1B54FDE3-2C3D-4644-B680-37E412769733}" destId="{616E8AD9-6FED-4424-8035-D567AC933E3B}" srcOrd="4" destOrd="0" parTransId="{EA7D5183-5D4D-4204-BC75-66513F663582}" sibTransId="{A0249937-2FDB-4A24-8B03-EF27989C3389}"/>
    <dgm:cxn modelId="{A9B75C08-1D55-4EDB-9447-C53A7907D74C}" srcId="{1B54FDE3-2C3D-4644-B680-37E412769733}" destId="{EF68F7E2-D0C2-4D01-B5AB-917B5AFCE449}" srcOrd="2" destOrd="0" parTransId="{01BC0168-A79A-4A08-A1FB-24708F8B9390}" sibTransId="{C24696F5-C045-42DD-8605-B05B6CCED3D0}"/>
    <dgm:cxn modelId="{EE61313B-42D2-4AA7-A81E-9999BD258B2D}" type="presOf" srcId="{3BB0979D-6F64-4C1E-8264-F965E7CA5644}" destId="{05BFFCCE-3C11-4737-B52B-913939E90CC5}" srcOrd="0" destOrd="0" presId="urn:microsoft.com/office/officeart/2008/layout/LinedList"/>
    <dgm:cxn modelId="{BA407375-96C4-4F61-A5EB-B60EE7ABAFC4}" srcId="{1B54FDE3-2C3D-4644-B680-37E412769733}" destId="{3BB0979D-6F64-4C1E-8264-F965E7CA5644}" srcOrd="6" destOrd="0" parTransId="{D9331946-C4FD-446A-9C61-8BDB77C20D0E}" sibTransId="{701B0CA1-5B42-4B64-B172-A24251F732BD}"/>
    <dgm:cxn modelId="{1A8213D6-10E3-4688-A939-7B7DC6BEE7B1}" type="presOf" srcId="{5E8ADC64-0F18-492B-957A-CC6CF2C79465}" destId="{DAF8BC61-4BCF-4C8D-826C-B7922E32BA3C}" srcOrd="0" destOrd="0" presId="urn:microsoft.com/office/officeart/2008/layout/LinedList"/>
    <dgm:cxn modelId="{2FFAD488-C78D-4D00-8AFA-93FE0EA83909}" type="presOf" srcId="{7A779064-392B-4E41-86D6-8B04256BD45E}" destId="{7C388A7D-90E4-4E2A-975F-061AFB8E09A0}" srcOrd="0" destOrd="0" presId="urn:microsoft.com/office/officeart/2008/layout/LinedList"/>
    <dgm:cxn modelId="{3E6A90DC-985F-4B3D-9936-60E5E845D934}" srcId="{1B54FDE3-2C3D-4644-B680-37E412769733}" destId="{5E8ADC64-0F18-492B-957A-CC6CF2C79465}" srcOrd="3" destOrd="0" parTransId="{95679D65-4341-4F3E-BF0E-4F053E53D51A}" sibTransId="{0D134772-D2B5-475F-8C32-FFEE2784709E}"/>
    <dgm:cxn modelId="{7AA52306-35FE-42D4-8A2A-86CFC755F576}" type="presOf" srcId="{C27E277F-98B2-4891-8A4E-643001AEB3F3}" destId="{2BF75A24-8C4F-40B4-8F00-9BB92CF67D9B}" srcOrd="0" destOrd="0" presId="urn:microsoft.com/office/officeart/2008/layout/LinedList"/>
    <dgm:cxn modelId="{4789ED70-6940-4AF0-BE33-BE73EDCB9FA8}" type="presOf" srcId="{E2C333CA-F0DF-41B4-BB17-E9FBF3E03142}" destId="{D5136C6D-008F-4E36-8C24-CD9E34661A2E}" srcOrd="0" destOrd="0" presId="urn:microsoft.com/office/officeart/2008/layout/LinedList"/>
    <dgm:cxn modelId="{958CAED5-2EBD-4F6C-BA26-0A0DF82D3FD6}" type="presOf" srcId="{616E8AD9-6FED-4424-8035-D567AC933E3B}" destId="{4C82E03E-AD8D-4350-BA1A-1FD16EDA6B0C}" srcOrd="0" destOrd="0" presId="urn:microsoft.com/office/officeart/2008/layout/LinedList"/>
    <dgm:cxn modelId="{FA72F38F-588D-4A0F-8815-F85E28C13E75}" type="presOf" srcId="{EF68F7E2-D0C2-4D01-B5AB-917B5AFCE449}" destId="{79EA0E0B-6A82-4C99-9A1E-56DAA42E93BD}" srcOrd="0" destOrd="0" presId="urn:microsoft.com/office/officeart/2008/layout/LinedList"/>
    <dgm:cxn modelId="{E8D86939-E069-4343-9C07-4C78BF2A6A46}" type="presOf" srcId="{1B54FDE3-2C3D-4644-B680-37E412769733}" destId="{00259D31-5668-46AC-8475-5968B2774A8B}" srcOrd="0" destOrd="0" presId="urn:microsoft.com/office/officeart/2008/layout/LinedList"/>
    <dgm:cxn modelId="{0ADD9687-1256-4161-817B-33EDB8804400}" type="presParOf" srcId="{00259D31-5668-46AC-8475-5968B2774A8B}" destId="{55928023-072F-4297-879C-E36572CD332D}" srcOrd="0" destOrd="0" presId="urn:microsoft.com/office/officeart/2008/layout/LinedList"/>
    <dgm:cxn modelId="{C7E75378-C857-47CE-B7B0-51C23D94BAEB}" type="presParOf" srcId="{00259D31-5668-46AC-8475-5968B2774A8B}" destId="{996FD099-9EF4-4F2E-9015-8860A524552B}" srcOrd="1" destOrd="0" presId="urn:microsoft.com/office/officeart/2008/layout/LinedList"/>
    <dgm:cxn modelId="{279703A9-E81E-421F-BF86-E7A721B58744}" type="presParOf" srcId="{996FD099-9EF4-4F2E-9015-8860A524552B}" destId="{2BF75A24-8C4F-40B4-8F00-9BB92CF67D9B}" srcOrd="0" destOrd="0" presId="urn:microsoft.com/office/officeart/2008/layout/LinedList"/>
    <dgm:cxn modelId="{720061E1-3880-45B3-9AC9-6CAAF591A6CD}" type="presParOf" srcId="{996FD099-9EF4-4F2E-9015-8860A524552B}" destId="{F2962D39-9E10-45BE-A7D2-16065ED8F057}" srcOrd="1" destOrd="0" presId="urn:microsoft.com/office/officeart/2008/layout/LinedList"/>
    <dgm:cxn modelId="{DBFE9CCC-72B3-425D-9703-9C9B81FAF7C9}" type="presParOf" srcId="{00259D31-5668-46AC-8475-5968B2774A8B}" destId="{5A80305A-A810-452F-98AC-7CEF73B9DB5E}" srcOrd="2" destOrd="0" presId="urn:microsoft.com/office/officeart/2008/layout/LinedList"/>
    <dgm:cxn modelId="{894F9194-7905-4755-AC03-5333F78A7F0E}" type="presParOf" srcId="{00259D31-5668-46AC-8475-5968B2774A8B}" destId="{DC8AE3C5-ABD2-4FD5-BCA5-831B47B67A68}" srcOrd="3" destOrd="0" presId="urn:microsoft.com/office/officeart/2008/layout/LinedList"/>
    <dgm:cxn modelId="{DA93D817-DC9D-400A-80B5-F86960120874}" type="presParOf" srcId="{DC8AE3C5-ABD2-4FD5-BCA5-831B47B67A68}" destId="{D5136C6D-008F-4E36-8C24-CD9E34661A2E}" srcOrd="0" destOrd="0" presId="urn:microsoft.com/office/officeart/2008/layout/LinedList"/>
    <dgm:cxn modelId="{4E1EE21C-A38F-464D-86A0-021CF7255292}" type="presParOf" srcId="{DC8AE3C5-ABD2-4FD5-BCA5-831B47B67A68}" destId="{38A173DD-6D02-41F2-8AF4-DFCACB7C6ADD}" srcOrd="1" destOrd="0" presId="urn:microsoft.com/office/officeart/2008/layout/LinedList"/>
    <dgm:cxn modelId="{72CA3079-A2A1-47BD-B766-5BC7FF0EA28B}" type="presParOf" srcId="{00259D31-5668-46AC-8475-5968B2774A8B}" destId="{F475C09C-4B93-4EB7-A5DA-0C39C0941E1A}" srcOrd="4" destOrd="0" presId="urn:microsoft.com/office/officeart/2008/layout/LinedList"/>
    <dgm:cxn modelId="{AE054618-4C22-4B81-96C0-936FD0DBD348}" type="presParOf" srcId="{00259D31-5668-46AC-8475-5968B2774A8B}" destId="{B8DAAC14-526C-4B97-800C-BE63C9021A04}" srcOrd="5" destOrd="0" presId="urn:microsoft.com/office/officeart/2008/layout/LinedList"/>
    <dgm:cxn modelId="{7754CDC6-E37A-4FE6-9F33-28E9C74A4458}" type="presParOf" srcId="{B8DAAC14-526C-4B97-800C-BE63C9021A04}" destId="{79EA0E0B-6A82-4C99-9A1E-56DAA42E93BD}" srcOrd="0" destOrd="0" presId="urn:microsoft.com/office/officeart/2008/layout/LinedList"/>
    <dgm:cxn modelId="{A9F9ABB2-2644-4AF9-8227-7BB34BACD846}" type="presParOf" srcId="{B8DAAC14-526C-4B97-800C-BE63C9021A04}" destId="{81984C09-13C0-4BEB-9590-CCEFC9666BD6}" srcOrd="1" destOrd="0" presId="urn:microsoft.com/office/officeart/2008/layout/LinedList"/>
    <dgm:cxn modelId="{98C583BA-B06E-4138-A662-33806E169517}" type="presParOf" srcId="{00259D31-5668-46AC-8475-5968B2774A8B}" destId="{5B703EF1-B5DB-4772-A524-E06418A7C90C}" srcOrd="6" destOrd="0" presId="urn:microsoft.com/office/officeart/2008/layout/LinedList"/>
    <dgm:cxn modelId="{FDD955BF-37BD-4E0A-99D0-D9AA8DF263D0}" type="presParOf" srcId="{00259D31-5668-46AC-8475-5968B2774A8B}" destId="{FC3DC302-188B-4E10-B892-96B64C4522B3}" srcOrd="7" destOrd="0" presId="urn:microsoft.com/office/officeart/2008/layout/LinedList"/>
    <dgm:cxn modelId="{D06413EE-FBF2-492B-A5C5-C348AAC7E4F1}" type="presParOf" srcId="{FC3DC302-188B-4E10-B892-96B64C4522B3}" destId="{DAF8BC61-4BCF-4C8D-826C-B7922E32BA3C}" srcOrd="0" destOrd="0" presId="urn:microsoft.com/office/officeart/2008/layout/LinedList"/>
    <dgm:cxn modelId="{96095CB5-D26D-48B5-8E46-D68FC49F92AD}" type="presParOf" srcId="{FC3DC302-188B-4E10-B892-96B64C4522B3}" destId="{A7AAE3DB-34AA-4A0A-BDC3-ED4879422DF0}" srcOrd="1" destOrd="0" presId="urn:microsoft.com/office/officeart/2008/layout/LinedList"/>
    <dgm:cxn modelId="{935E6612-902F-4801-87B6-C5F908D7CC5E}" type="presParOf" srcId="{00259D31-5668-46AC-8475-5968B2774A8B}" destId="{E35F2974-5F7A-427F-929B-E8CD735BA162}" srcOrd="8" destOrd="0" presId="urn:microsoft.com/office/officeart/2008/layout/LinedList"/>
    <dgm:cxn modelId="{74A493D3-097E-436C-9035-04A4E189B4B8}" type="presParOf" srcId="{00259D31-5668-46AC-8475-5968B2774A8B}" destId="{47F3B77D-69A3-470B-97E7-DF3B36156035}" srcOrd="9" destOrd="0" presId="urn:microsoft.com/office/officeart/2008/layout/LinedList"/>
    <dgm:cxn modelId="{C8181A42-7BBF-45B1-AA42-AF9858FC684D}" type="presParOf" srcId="{47F3B77D-69A3-470B-97E7-DF3B36156035}" destId="{4C82E03E-AD8D-4350-BA1A-1FD16EDA6B0C}" srcOrd="0" destOrd="0" presId="urn:microsoft.com/office/officeart/2008/layout/LinedList"/>
    <dgm:cxn modelId="{4C5C7EC8-5120-4A51-A9AA-2D12A9A6947A}" type="presParOf" srcId="{47F3B77D-69A3-470B-97E7-DF3B36156035}" destId="{17644C23-9769-4102-AF69-814F05850F78}" srcOrd="1" destOrd="0" presId="urn:microsoft.com/office/officeart/2008/layout/LinedList"/>
    <dgm:cxn modelId="{6CE372FF-B908-408A-9AD1-3DFE895FEA26}" type="presParOf" srcId="{00259D31-5668-46AC-8475-5968B2774A8B}" destId="{BCD4A890-D6E7-4390-A534-80C3A6C68784}" srcOrd="10" destOrd="0" presId="urn:microsoft.com/office/officeart/2008/layout/LinedList"/>
    <dgm:cxn modelId="{06F397B1-CD2F-4297-8E3C-E7948C85E096}" type="presParOf" srcId="{00259D31-5668-46AC-8475-5968B2774A8B}" destId="{71BC4CD1-3F44-42E9-B7B0-60C95DC896C4}" srcOrd="11" destOrd="0" presId="urn:microsoft.com/office/officeart/2008/layout/LinedList"/>
    <dgm:cxn modelId="{215C6A78-0625-478B-A62E-3ECA454718B8}" type="presParOf" srcId="{71BC4CD1-3F44-42E9-B7B0-60C95DC896C4}" destId="{7C388A7D-90E4-4E2A-975F-061AFB8E09A0}" srcOrd="0" destOrd="0" presId="urn:microsoft.com/office/officeart/2008/layout/LinedList"/>
    <dgm:cxn modelId="{17D997C0-693B-4FBD-8CDF-EE35BC67FA61}" type="presParOf" srcId="{71BC4CD1-3F44-42E9-B7B0-60C95DC896C4}" destId="{FD07C8DA-9372-4642-89BA-9DAB883A23C6}" srcOrd="1" destOrd="0" presId="urn:microsoft.com/office/officeart/2008/layout/LinedList"/>
    <dgm:cxn modelId="{B0881B8F-26D6-4AD6-B649-E69F4767DED3}" type="presParOf" srcId="{00259D31-5668-46AC-8475-5968B2774A8B}" destId="{A3FEB88E-9277-4F95-83D4-11B6843A134A}" srcOrd="12" destOrd="0" presId="urn:microsoft.com/office/officeart/2008/layout/LinedList"/>
    <dgm:cxn modelId="{2444E3D1-C220-467E-B715-6D6F960BCC83}" type="presParOf" srcId="{00259D31-5668-46AC-8475-5968B2774A8B}" destId="{B9381A40-E385-415D-B75D-6125104118D9}" srcOrd="13" destOrd="0" presId="urn:microsoft.com/office/officeart/2008/layout/LinedList"/>
    <dgm:cxn modelId="{6BB01B2F-A0AD-4617-873B-EEF69BD8AD31}" type="presParOf" srcId="{B9381A40-E385-415D-B75D-6125104118D9}" destId="{05BFFCCE-3C11-4737-B52B-913939E90CC5}" srcOrd="0" destOrd="0" presId="urn:microsoft.com/office/officeart/2008/layout/LinedList"/>
    <dgm:cxn modelId="{478C0F1E-7A36-43C2-B932-5D785CC4B47E}" type="presParOf" srcId="{B9381A40-E385-415D-B75D-6125104118D9}" destId="{BA790071-E0F2-4F21-A124-7816F3C984D2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7550273-13D4-4CBC-AAAD-C0A94D2ECE35}" type="doc">
      <dgm:prSet loTypeId="urn:microsoft.com/office/officeart/2005/8/layout/hierarchy1" loCatId="hierarchy" qsTypeId="urn:microsoft.com/office/officeart/2005/8/quickstyle/simple1" qsCatId="simple" csTypeId="urn:microsoft.com/office/officeart/2005/8/colors/accent0_3" csCatId="mainScheme"/>
      <dgm:spPr/>
      <dgm:t>
        <a:bodyPr/>
        <a:lstStyle/>
        <a:p>
          <a:endParaRPr lang="en-US"/>
        </a:p>
      </dgm:t>
    </dgm:pt>
    <dgm:pt modelId="{DC17778F-C3F4-4162-8180-2703DCECD364}">
      <dgm:prSet/>
      <dgm:spPr/>
      <dgm:t>
        <a:bodyPr/>
        <a:lstStyle/>
        <a:p>
          <a:r>
            <a:rPr lang="de-DE"/>
            <a:t>Gut auf die Ausbildung angepasst</a:t>
          </a:r>
          <a:endParaRPr lang="en-US"/>
        </a:p>
      </dgm:t>
    </dgm:pt>
    <dgm:pt modelId="{63B22E75-8CFC-4EDB-96D2-31C7EFCF41B4}" type="parTrans" cxnId="{2F3341EC-A15F-4854-8DF8-9ADD64BA304D}">
      <dgm:prSet/>
      <dgm:spPr/>
      <dgm:t>
        <a:bodyPr/>
        <a:lstStyle/>
        <a:p>
          <a:endParaRPr lang="en-US"/>
        </a:p>
      </dgm:t>
    </dgm:pt>
    <dgm:pt modelId="{545414DC-F039-4793-AB2B-86B75C49E661}" type="sibTrans" cxnId="{2F3341EC-A15F-4854-8DF8-9ADD64BA304D}">
      <dgm:prSet/>
      <dgm:spPr/>
      <dgm:t>
        <a:bodyPr/>
        <a:lstStyle/>
        <a:p>
          <a:endParaRPr lang="en-US"/>
        </a:p>
      </dgm:t>
    </dgm:pt>
    <dgm:pt modelId="{AF49C04C-D2D9-4754-A216-3A2999A8AF3A}">
      <dgm:prSet/>
      <dgm:spPr/>
      <dgm:t>
        <a:bodyPr/>
        <a:lstStyle/>
        <a:p>
          <a:r>
            <a:rPr lang="de-CH"/>
            <a:t>Grosse Selbständigkeit</a:t>
          </a:r>
          <a:endParaRPr lang="en-US"/>
        </a:p>
      </dgm:t>
    </dgm:pt>
    <dgm:pt modelId="{E915E5F9-05B5-427C-A27F-550307477F2C}" type="parTrans" cxnId="{1902C6C3-F8F7-4CF5-9E26-D80619D6CADF}">
      <dgm:prSet/>
      <dgm:spPr/>
      <dgm:t>
        <a:bodyPr/>
        <a:lstStyle/>
        <a:p>
          <a:endParaRPr lang="en-US"/>
        </a:p>
      </dgm:t>
    </dgm:pt>
    <dgm:pt modelId="{B2042B39-3FD6-4FC0-A58A-0D74C3E80B75}" type="sibTrans" cxnId="{1902C6C3-F8F7-4CF5-9E26-D80619D6CADF}">
      <dgm:prSet/>
      <dgm:spPr/>
      <dgm:t>
        <a:bodyPr/>
        <a:lstStyle/>
        <a:p>
          <a:endParaRPr lang="en-US"/>
        </a:p>
      </dgm:t>
    </dgm:pt>
    <dgm:pt modelId="{0E0FA68E-06E3-4D89-A24D-1A2D019A2D0C}">
      <dgm:prSet/>
      <dgm:spPr/>
      <dgm:t>
        <a:bodyPr/>
        <a:lstStyle/>
        <a:p>
          <a:r>
            <a:rPr lang="de-DE"/>
            <a:t>SIS Dog hat viel Zeit in Anspruch genommen</a:t>
          </a:r>
          <a:endParaRPr lang="en-US"/>
        </a:p>
      </dgm:t>
    </dgm:pt>
    <dgm:pt modelId="{5C343996-BDC4-48B1-A4A0-959B94DC7B73}" type="parTrans" cxnId="{F0E0FA45-ABC6-4656-9277-83C753BCA18E}">
      <dgm:prSet/>
      <dgm:spPr/>
      <dgm:t>
        <a:bodyPr/>
        <a:lstStyle/>
        <a:p>
          <a:endParaRPr lang="en-US"/>
        </a:p>
      </dgm:t>
    </dgm:pt>
    <dgm:pt modelId="{423D4568-124B-454A-895A-74289E0B63C2}" type="sibTrans" cxnId="{F0E0FA45-ABC6-4656-9277-83C753BCA18E}">
      <dgm:prSet/>
      <dgm:spPr/>
      <dgm:t>
        <a:bodyPr/>
        <a:lstStyle/>
        <a:p>
          <a:endParaRPr lang="en-US"/>
        </a:p>
      </dgm:t>
    </dgm:pt>
    <dgm:pt modelId="{7A5A601D-B1AB-4C3D-B69C-7E565D37F680}">
      <dgm:prSet/>
      <dgm:spPr/>
      <dgm:t>
        <a:bodyPr/>
        <a:lstStyle/>
        <a:p>
          <a:r>
            <a:rPr lang="de-DE"/>
            <a:t>Anspruchsvollster Teil: Checkliste schreiben</a:t>
          </a:r>
          <a:endParaRPr lang="en-US"/>
        </a:p>
      </dgm:t>
    </dgm:pt>
    <dgm:pt modelId="{B4C628DA-39C7-49EE-B4FE-2A7ACCD42DC4}" type="parTrans" cxnId="{A14CCD11-E2F2-41FC-9411-D09C473D4C94}">
      <dgm:prSet/>
      <dgm:spPr/>
      <dgm:t>
        <a:bodyPr/>
        <a:lstStyle/>
        <a:p>
          <a:endParaRPr lang="en-US"/>
        </a:p>
      </dgm:t>
    </dgm:pt>
    <dgm:pt modelId="{657BB8FB-82E0-43AD-840E-4AA6F36ACEB2}" type="sibTrans" cxnId="{A14CCD11-E2F2-41FC-9411-D09C473D4C94}">
      <dgm:prSet/>
      <dgm:spPr/>
      <dgm:t>
        <a:bodyPr/>
        <a:lstStyle/>
        <a:p>
          <a:endParaRPr lang="en-US"/>
        </a:p>
      </dgm:t>
    </dgm:pt>
    <dgm:pt modelId="{48B09342-F48D-4F39-AC5A-7407F15117AE}" type="pres">
      <dgm:prSet presAssocID="{67550273-13D4-4CBC-AAAD-C0A94D2ECE35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de-DE"/>
        </a:p>
      </dgm:t>
    </dgm:pt>
    <dgm:pt modelId="{728023B6-0ED0-42A4-9718-9D9AD9D268C3}" type="pres">
      <dgm:prSet presAssocID="{DC17778F-C3F4-4162-8180-2703DCECD364}" presName="hierRoot1" presStyleCnt="0"/>
      <dgm:spPr/>
    </dgm:pt>
    <dgm:pt modelId="{66D06BDD-C770-4B40-BBBB-31CB39757C89}" type="pres">
      <dgm:prSet presAssocID="{DC17778F-C3F4-4162-8180-2703DCECD364}" presName="composite" presStyleCnt="0"/>
      <dgm:spPr/>
    </dgm:pt>
    <dgm:pt modelId="{355EC295-2E24-4FFB-A07A-665F48A388CD}" type="pres">
      <dgm:prSet presAssocID="{DC17778F-C3F4-4162-8180-2703DCECD364}" presName="background" presStyleLbl="node0" presStyleIdx="0" presStyleCnt="4"/>
      <dgm:spPr/>
    </dgm:pt>
    <dgm:pt modelId="{BC18E57A-8172-4E28-A0D0-6921633E580E}" type="pres">
      <dgm:prSet presAssocID="{DC17778F-C3F4-4162-8180-2703DCECD364}" presName="text" presStyleLbl="fgAcc0" presStyleIdx="0" presStyleCnt="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CEA0C6AB-299F-4A4E-BFC6-6B93F68D973A}" type="pres">
      <dgm:prSet presAssocID="{DC17778F-C3F4-4162-8180-2703DCECD364}" presName="hierChild2" presStyleCnt="0"/>
      <dgm:spPr/>
    </dgm:pt>
    <dgm:pt modelId="{47C4B8DE-FB7C-47E7-8002-1B4CC22BABD9}" type="pres">
      <dgm:prSet presAssocID="{AF49C04C-D2D9-4754-A216-3A2999A8AF3A}" presName="hierRoot1" presStyleCnt="0"/>
      <dgm:spPr/>
    </dgm:pt>
    <dgm:pt modelId="{180DD718-1700-4C77-A01F-4A6621DED830}" type="pres">
      <dgm:prSet presAssocID="{AF49C04C-D2D9-4754-A216-3A2999A8AF3A}" presName="composite" presStyleCnt="0"/>
      <dgm:spPr/>
    </dgm:pt>
    <dgm:pt modelId="{C179C20B-4D8A-4FFB-A0AF-51E5C5301EA3}" type="pres">
      <dgm:prSet presAssocID="{AF49C04C-D2D9-4754-A216-3A2999A8AF3A}" presName="background" presStyleLbl="node0" presStyleIdx="1" presStyleCnt="4"/>
      <dgm:spPr/>
    </dgm:pt>
    <dgm:pt modelId="{5130AEB0-DC58-4936-B8C2-811670BCE86D}" type="pres">
      <dgm:prSet presAssocID="{AF49C04C-D2D9-4754-A216-3A2999A8AF3A}" presName="text" presStyleLbl="fgAcc0" presStyleIdx="1" presStyleCnt="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1C17F00-BAB4-44A0-B167-462E2C68C554}" type="pres">
      <dgm:prSet presAssocID="{AF49C04C-D2D9-4754-A216-3A2999A8AF3A}" presName="hierChild2" presStyleCnt="0"/>
      <dgm:spPr/>
    </dgm:pt>
    <dgm:pt modelId="{88A6D0CB-5D8B-4576-8AE5-A7D4F88B7733}" type="pres">
      <dgm:prSet presAssocID="{0E0FA68E-06E3-4D89-A24D-1A2D019A2D0C}" presName="hierRoot1" presStyleCnt="0"/>
      <dgm:spPr/>
    </dgm:pt>
    <dgm:pt modelId="{FB9F6DAF-E5C5-42C5-BC3E-59B44B23D5E4}" type="pres">
      <dgm:prSet presAssocID="{0E0FA68E-06E3-4D89-A24D-1A2D019A2D0C}" presName="composite" presStyleCnt="0"/>
      <dgm:spPr/>
    </dgm:pt>
    <dgm:pt modelId="{C1EC776B-C4B6-4E20-A1A6-34ADFA2365FF}" type="pres">
      <dgm:prSet presAssocID="{0E0FA68E-06E3-4D89-A24D-1A2D019A2D0C}" presName="background" presStyleLbl="node0" presStyleIdx="2" presStyleCnt="4"/>
      <dgm:spPr/>
    </dgm:pt>
    <dgm:pt modelId="{857EB379-4B4B-4A7C-96A5-54D692DB14A4}" type="pres">
      <dgm:prSet presAssocID="{0E0FA68E-06E3-4D89-A24D-1A2D019A2D0C}" presName="text" presStyleLbl="fgAcc0" presStyleIdx="2" presStyleCnt="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CBE85BB9-C45C-4579-BC5C-17B7F62A390A}" type="pres">
      <dgm:prSet presAssocID="{0E0FA68E-06E3-4D89-A24D-1A2D019A2D0C}" presName="hierChild2" presStyleCnt="0"/>
      <dgm:spPr/>
    </dgm:pt>
    <dgm:pt modelId="{2F98884A-5AAD-4076-80C5-B52C099627E9}" type="pres">
      <dgm:prSet presAssocID="{7A5A601D-B1AB-4C3D-B69C-7E565D37F680}" presName="hierRoot1" presStyleCnt="0"/>
      <dgm:spPr/>
    </dgm:pt>
    <dgm:pt modelId="{BACB1A3F-F8F8-407E-A3F3-63E4CBE36E55}" type="pres">
      <dgm:prSet presAssocID="{7A5A601D-B1AB-4C3D-B69C-7E565D37F680}" presName="composite" presStyleCnt="0"/>
      <dgm:spPr/>
    </dgm:pt>
    <dgm:pt modelId="{C952A23F-E779-4F62-993B-DBDDDA4B0BC7}" type="pres">
      <dgm:prSet presAssocID="{7A5A601D-B1AB-4C3D-B69C-7E565D37F680}" presName="background" presStyleLbl="node0" presStyleIdx="3" presStyleCnt="4"/>
      <dgm:spPr/>
    </dgm:pt>
    <dgm:pt modelId="{C83EF7DD-4ABE-476D-A617-3F8B3BD5CC39}" type="pres">
      <dgm:prSet presAssocID="{7A5A601D-B1AB-4C3D-B69C-7E565D37F680}" presName="text" presStyleLbl="fgAcc0" presStyleIdx="3" presStyleCnt="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1BA208C6-054D-4522-BC3F-42157DA7AF90}" type="pres">
      <dgm:prSet presAssocID="{7A5A601D-B1AB-4C3D-B69C-7E565D37F680}" presName="hierChild2" presStyleCnt="0"/>
      <dgm:spPr/>
    </dgm:pt>
  </dgm:ptLst>
  <dgm:cxnLst>
    <dgm:cxn modelId="{F0E0FA45-ABC6-4656-9277-83C753BCA18E}" srcId="{67550273-13D4-4CBC-AAAD-C0A94D2ECE35}" destId="{0E0FA68E-06E3-4D89-A24D-1A2D019A2D0C}" srcOrd="2" destOrd="0" parTransId="{5C343996-BDC4-48B1-A4A0-959B94DC7B73}" sibTransId="{423D4568-124B-454A-895A-74289E0B63C2}"/>
    <dgm:cxn modelId="{A442C3D1-5730-4388-A785-0A411F8C2CCA}" type="presOf" srcId="{AF49C04C-D2D9-4754-A216-3A2999A8AF3A}" destId="{5130AEB0-DC58-4936-B8C2-811670BCE86D}" srcOrd="0" destOrd="0" presId="urn:microsoft.com/office/officeart/2005/8/layout/hierarchy1"/>
    <dgm:cxn modelId="{2F3341EC-A15F-4854-8DF8-9ADD64BA304D}" srcId="{67550273-13D4-4CBC-AAAD-C0A94D2ECE35}" destId="{DC17778F-C3F4-4162-8180-2703DCECD364}" srcOrd="0" destOrd="0" parTransId="{63B22E75-8CFC-4EDB-96D2-31C7EFCF41B4}" sibTransId="{545414DC-F039-4793-AB2B-86B75C49E661}"/>
    <dgm:cxn modelId="{A29BBE01-534A-405C-AC2C-73DDD11B9259}" type="presOf" srcId="{0E0FA68E-06E3-4D89-A24D-1A2D019A2D0C}" destId="{857EB379-4B4B-4A7C-96A5-54D692DB14A4}" srcOrd="0" destOrd="0" presId="urn:microsoft.com/office/officeart/2005/8/layout/hierarchy1"/>
    <dgm:cxn modelId="{79C0E5FA-F38F-42C5-903F-8583D0DFF2D0}" type="presOf" srcId="{DC17778F-C3F4-4162-8180-2703DCECD364}" destId="{BC18E57A-8172-4E28-A0D0-6921633E580E}" srcOrd="0" destOrd="0" presId="urn:microsoft.com/office/officeart/2005/8/layout/hierarchy1"/>
    <dgm:cxn modelId="{F7C9A773-80CF-45A3-A751-15C8A3ECBFEE}" type="presOf" srcId="{7A5A601D-B1AB-4C3D-B69C-7E565D37F680}" destId="{C83EF7DD-4ABE-476D-A617-3F8B3BD5CC39}" srcOrd="0" destOrd="0" presId="urn:microsoft.com/office/officeart/2005/8/layout/hierarchy1"/>
    <dgm:cxn modelId="{A1BAFA58-195E-4533-A229-B96345F6B0BF}" type="presOf" srcId="{67550273-13D4-4CBC-AAAD-C0A94D2ECE35}" destId="{48B09342-F48D-4F39-AC5A-7407F15117AE}" srcOrd="0" destOrd="0" presId="urn:microsoft.com/office/officeart/2005/8/layout/hierarchy1"/>
    <dgm:cxn modelId="{1902C6C3-F8F7-4CF5-9E26-D80619D6CADF}" srcId="{67550273-13D4-4CBC-AAAD-C0A94D2ECE35}" destId="{AF49C04C-D2D9-4754-A216-3A2999A8AF3A}" srcOrd="1" destOrd="0" parTransId="{E915E5F9-05B5-427C-A27F-550307477F2C}" sibTransId="{B2042B39-3FD6-4FC0-A58A-0D74C3E80B75}"/>
    <dgm:cxn modelId="{A14CCD11-E2F2-41FC-9411-D09C473D4C94}" srcId="{67550273-13D4-4CBC-AAAD-C0A94D2ECE35}" destId="{7A5A601D-B1AB-4C3D-B69C-7E565D37F680}" srcOrd="3" destOrd="0" parTransId="{B4C628DA-39C7-49EE-B4FE-2A7ACCD42DC4}" sibTransId="{657BB8FB-82E0-43AD-840E-4AA6F36ACEB2}"/>
    <dgm:cxn modelId="{BB42FB72-95A2-417B-8377-0ADFAFF13414}" type="presParOf" srcId="{48B09342-F48D-4F39-AC5A-7407F15117AE}" destId="{728023B6-0ED0-42A4-9718-9D9AD9D268C3}" srcOrd="0" destOrd="0" presId="urn:microsoft.com/office/officeart/2005/8/layout/hierarchy1"/>
    <dgm:cxn modelId="{488B651C-C7BF-4376-9675-666638FC2FCC}" type="presParOf" srcId="{728023B6-0ED0-42A4-9718-9D9AD9D268C3}" destId="{66D06BDD-C770-4B40-BBBB-31CB39757C89}" srcOrd="0" destOrd="0" presId="urn:microsoft.com/office/officeart/2005/8/layout/hierarchy1"/>
    <dgm:cxn modelId="{2D516D66-DE9E-4CD9-A12C-E716B6070BD3}" type="presParOf" srcId="{66D06BDD-C770-4B40-BBBB-31CB39757C89}" destId="{355EC295-2E24-4FFB-A07A-665F48A388CD}" srcOrd="0" destOrd="0" presId="urn:microsoft.com/office/officeart/2005/8/layout/hierarchy1"/>
    <dgm:cxn modelId="{8EA5192D-AEB8-4E32-AE42-6A824936E22D}" type="presParOf" srcId="{66D06BDD-C770-4B40-BBBB-31CB39757C89}" destId="{BC18E57A-8172-4E28-A0D0-6921633E580E}" srcOrd="1" destOrd="0" presId="urn:microsoft.com/office/officeart/2005/8/layout/hierarchy1"/>
    <dgm:cxn modelId="{42696310-1198-43FF-8D3A-AEA63B6C2D23}" type="presParOf" srcId="{728023B6-0ED0-42A4-9718-9D9AD9D268C3}" destId="{CEA0C6AB-299F-4A4E-BFC6-6B93F68D973A}" srcOrd="1" destOrd="0" presId="urn:microsoft.com/office/officeart/2005/8/layout/hierarchy1"/>
    <dgm:cxn modelId="{2558DDBC-08DC-4155-BA44-60635876119D}" type="presParOf" srcId="{48B09342-F48D-4F39-AC5A-7407F15117AE}" destId="{47C4B8DE-FB7C-47E7-8002-1B4CC22BABD9}" srcOrd="1" destOrd="0" presId="urn:microsoft.com/office/officeart/2005/8/layout/hierarchy1"/>
    <dgm:cxn modelId="{666757EE-DCFD-4620-BD50-2ABECCF41A87}" type="presParOf" srcId="{47C4B8DE-FB7C-47E7-8002-1B4CC22BABD9}" destId="{180DD718-1700-4C77-A01F-4A6621DED830}" srcOrd="0" destOrd="0" presId="urn:microsoft.com/office/officeart/2005/8/layout/hierarchy1"/>
    <dgm:cxn modelId="{836B2ACF-A548-4629-998A-36D2836732FD}" type="presParOf" srcId="{180DD718-1700-4C77-A01F-4A6621DED830}" destId="{C179C20B-4D8A-4FFB-A0AF-51E5C5301EA3}" srcOrd="0" destOrd="0" presId="urn:microsoft.com/office/officeart/2005/8/layout/hierarchy1"/>
    <dgm:cxn modelId="{670EBD2E-C178-4ED2-A765-968A4CF6F528}" type="presParOf" srcId="{180DD718-1700-4C77-A01F-4A6621DED830}" destId="{5130AEB0-DC58-4936-B8C2-811670BCE86D}" srcOrd="1" destOrd="0" presId="urn:microsoft.com/office/officeart/2005/8/layout/hierarchy1"/>
    <dgm:cxn modelId="{F1EA047A-301C-4386-8C2D-19CACB022D93}" type="presParOf" srcId="{47C4B8DE-FB7C-47E7-8002-1B4CC22BABD9}" destId="{91C17F00-BAB4-44A0-B167-462E2C68C554}" srcOrd="1" destOrd="0" presId="urn:microsoft.com/office/officeart/2005/8/layout/hierarchy1"/>
    <dgm:cxn modelId="{8B30B909-AE82-4D55-8EFF-6CBF42262008}" type="presParOf" srcId="{48B09342-F48D-4F39-AC5A-7407F15117AE}" destId="{88A6D0CB-5D8B-4576-8AE5-A7D4F88B7733}" srcOrd="2" destOrd="0" presId="urn:microsoft.com/office/officeart/2005/8/layout/hierarchy1"/>
    <dgm:cxn modelId="{12EC72A7-B464-47AB-8E3E-D4A904A3932B}" type="presParOf" srcId="{88A6D0CB-5D8B-4576-8AE5-A7D4F88B7733}" destId="{FB9F6DAF-E5C5-42C5-BC3E-59B44B23D5E4}" srcOrd="0" destOrd="0" presId="urn:microsoft.com/office/officeart/2005/8/layout/hierarchy1"/>
    <dgm:cxn modelId="{1BD34C2F-7C7A-4601-BA81-48C73B24E1EC}" type="presParOf" srcId="{FB9F6DAF-E5C5-42C5-BC3E-59B44B23D5E4}" destId="{C1EC776B-C4B6-4E20-A1A6-34ADFA2365FF}" srcOrd="0" destOrd="0" presId="urn:microsoft.com/office/officeart/2005/8/layout/hierarchy1"/>
    <dgm:cxn modelId="{40648E03-4DE2-450C-84F9-9AA08A310CF9}" type="presParOf" srcId="{FB9F6DAF-E5C5-42C5-BC3E-59B44B23D5E4}" destId="{857EB379-4B4B-4A7C-96A5-54D692DB14A4}" srcOrd="1" destOrd="0" presId="urn:microsoft.com/office/officeart/2005/8/layout/hierarchy1"/>
    <dgm:cxn modelId="{5D3DA40B-2B47-4E43-863F-585C1137CC3D}" type="presParOf" srcId="{88A6D0CB-5D8B-4576-8AE5-A7D4F88B7733}" destId="{CBE85BB9-C45C-4579-BC5C-17B7F62A390A}" srcOrd="1" destOrd="0" presId="urn:microsoft.com/office/officeart/2005/8/layout/hierarchy1"/>
    <dgm:cxn modelId="{23AC9892-4F07-4034-84CA-2CFFA4F0A36D}" type="presParOf" srcId="{48B09342-F48D-4F39-AC5A-7407F15117AE}" destId="{2F98884A-5AAD-4076-80C5-B52C099627E9}" srcOrd="3" destOrd="0" presId="urn:microsoft.com/office/officeart/2005/8/layout/hierarchy1"/>
    <dgm:cxn modelId="{D86FEC02-5A2A-46CF-8B0E-D4578D984EBF}" type="presParOf" srcId="{2F98884A-5AAD-4076-80C5-B52C099627E9}" destId="{BACB1A3F-F8F8-407E-A3F3-63E4CBE36E55}" srcOrd="0" destOrd="0" presId="urn:microsoft.com/office/officeart/2005/8/layout/hierarchy1"/>
    <dgm:cxn modelId="{F940571D-8777-471F-BA95-BB14DCFE50E8}" type="presParOf" srcId="{BACB1A3F-F8F8-407E-A3F3-63E4CBE36E55}" destId="{C952A23F-E779-4F62-993B-DBDDDA4B0BC7}" srcOrd="0" destOrd="0" presId="urn:microsoft.com/office/officeart/2005/8/layout/hierarchy1"/>
    <dgm:cxn modelId="{2769114C-974E-4B27-AD83-77681F839665}" type="presParOf" srcId="{BACB1A3F-F8F8-407E-A3F3-63E4CBE36E55}" destId="{C83EF7DD-4ABE-476D-A617-3F8B3BD5CC39}" srcOrd="1" destOrd="0" presId="urn:microsoft.com/office/officeart/2005/8/layout/hierarchy1"/>
    <dgm:cxn modelId="{1362DB02-8E2C-4F8B-918B-63A91A926168}" type="presParOf" srcId="{2F98884A-5AAD-4076-80C5-B52C099627E9}" destId="{1BA208C6-054D-4522-BC3F-42157DA7A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5928023-072F-4297-879C-E36572CD332D}">
      <dsp:nvSpPr>
        <dsp:cNvPr id="0" name=""/>
        <dsp:cNvSpPr/>
      </dsp:nvSpPr>
      <dsp:spPr>
        <a:xfrm>
          <a:off x="0" y="623"/>
          <a:ext cx="6492875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BF75A24-8C4F-40B4-8F00-9BB92CF67D9B}">
      <dsp:nvSpPr>
        <dsp:cNvPr id="0" name=""/>
        <dsp:cNvSpPr/>
      </dsp:nvSpPr>
      <dsp:spPr>
        <a:xfrm>
          <a:off x="0" y="623"/>
          <a:ext cx="6492875" cy="7291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lvl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300" kern="1200"/>
            <a:t>Aufbau der Anlage</a:t>
          </a:r>
          <a:endParaRPr lang="en-US" sz="3300" kern="1200"/>
        </a:p>
      </dsp:txBody>
      <dsp:txXfrm>
        <a:off x="0" y="623"/>
        <a:ext cx="6492875" cy="729164"/>
      </dsp:txXfrm>
    </dsp:sp>
    <dsp:sp modelId="{5A80305A-A810-452F-98AC-7CEF73B9DB5E}">
      <dsp:nvSpPr>
        <dsp:cNvPr id="0" name=""/>
        <dsp:cNvSpPr/>
      </dsp:nvSpPr>
      <dsp:spPr>
        <a:xfrm>
          <a:off x="0" y="729788"/>
          <a:ext cx="6492875" cy="0"/>
        </a:xfrm>
        <a:prstGeom prst="lin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5136C6D-008F-4E36-8C24-CD9E34661A2E}">
      <dsp:nvSpPr>
        <dsp:cNvPr id="0" name=""/>
        <dsp:cNvSpPr/>
      </dsp:nvSpPr>
      <dsp:spPr>
        <a:xfrm>
          <a:off x="0" y="729788"/>
          <a:ext cx="6492875" cy="7291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lvl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300" kern="1200"/>
            <a:t>Telegramme und Image</a:t>
          </a:r>
          <a:endParaRPr lang="en-US" sz="3300" kern="1200"/>
        </a:p>
      </dsp:txBody>
      <dsp:txXfrm>
        <a:off x="0" y="729788"/>
        <a:ext cx="6492875" cy="729164"/>
      </dsp:txXfrm>
    </dsp:sp>
    <dsp:sp modelId="{F475C09C-4B93-4EB7-A5DA-0C39C0941E1A}">
      <dsp:nvSpPr>
        <dsp:cNvPr id="0" name=""/>
        <dsp:cNvSpPr/>
      </dsp:nvSpPr>
      <dsp:spPr>
        <a:xfrm>
          <a:off x="0" y="1458952"/>
          <a:ext cx="6492875" cy="0"/>
        </a:xfrm>
        <a:prstGeom prst="lin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9EA0E0B-6A82-4C99-9A1E-56DAA42E93BD}">
      <dsp:nvSpPr>
        <dsp:cNvPr id="0" name=""/>
        <dsp:cNvSpPr/>
      </dsp:nvSpPr>
      <dsp:spPr>
        <a:xfrm>
          <a:off x="0" y="1458952"/>
          <a:ext cx="6492875" cy="7291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lvl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300" kern="1200"/>
            <a:t>Visualisierung</a:t>
          </a:r>
          <a:endParaRPr lang="en-US" sz="3300" kern="1200"/>
        </a:p>
      </dsp:txBody>
      <dsp:txXfrm>
        <a:off x="0" y="1458952"/>
        <a:ext cx="6492875" cy="729164"/>
      </dsp:txXfrm>
    </dsp:sp>
    <dsp:sp modelId="{5B703EF1-B5DB-4772-A524-E06418A7C90C}">
      <dsp:nvSpPr>
        <dsp:cNvPr id="0" name=""/>
        <dsp:cNvSpPr/>
      </dsp:nvSpPr>
      <dsp:spPr>
        <a:xfrm>
          <a:off x="0" y="2188117"/>
          <a:ext cx="6492875" cy="0"/>
        </a:xfrm>
        <a:prstGeom prst="lin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AF8BC61-4BCF-4C8D-826C-B7922E32BA3C}">
      <dsp:nvSpPr>
        <dsp:cNvPr id="0" name=""/>
        <dsp:cNvSpPr/>
      </dsp:nvSpPr>
      <dsp:spPr>
        <a:xfrm>
          <a:off x="0" y="2188117"/>
          <a:ext cx="6492875" cy="7291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lvl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300" kern="1200" dirty="0"/>
            <a:t>Move Modul</a:t>
          </a:r>
          <a:endParaRPr lang="en-US" sz="3300" kern="1200" dirty="0"/>
        </a:p>
      </dsp:txBody>
      <dsp:txXfrm>
        <a:off x="0" y="2188117"/>
        <a:ext cx="6492875" cy="729164"/>
      </dsp:txXfrm>
    </dsp:sp>
    <dsp:sp modelId="{E35F2974-5F7A-427F-929B-E8CD735BA162}">
      <dsp:nvSpPr>
        <dsp:cNvPr id="0" name=""/>
        <dsp:cNvSpPr/>
      </dsp:nvSpPr>
      <dsp:spPr>
        <a:xfrm>
          <a:off x="0" y="2917282"/>
          <a:ext cx="6492875" cy="0"/>
        </a:xfrm>
        <a:prstGeom prst="lin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C82E03E-AD8D-4350-BA1A-1FD16EDA6B0C}">
      <dsp:nvSpPr>
        <dsp:cNvPr id="0" name=""/>
        <dsp:cNvSpPr/>
      </dsp:nvSpPr>
      <dsp:spPr>
        <a:xfrm>
          <a:off x="0" y="2917282"/>
          <a:ext cx="6492875" cy="7291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lvl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300" kern="1200"/>
            <a:t>Test</a:t>
          </a:r>
          <a:endParaRPr lang="en-US" sz="3300" kern="1200"/>
        </a:p>
      </dsp:txBody>
      <dsp:txXfrm>
        <a:off x="0" y="2917282"/>
        <a:ext cx="6492875" cy="729164"/>
      </dsp:txXfrm>
    </dsp:sp>
    <dsp:sp modelId="{BCD4A890-D6E7-4390-A534-80C3A6C68784}">
      <dsp:nvSpPr>
        <dsp:cNvPr id="0" name=""/>
        <dsp:cNvSpPr/>
      </dsp:nvSpPr>
      <dsp:spPr>
        <a:xfrm>
          <a:off x="0" y="3646447"/>
          <a:ext cx="6492875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C388A7D-90E4-4E2A-975F-061AFB8E09A0}">
      <dsp:nvSpPr>
        <dsp:cNvPr id="0" name=""/>
        <dsp:cNvSpPr/>
      </dsp:nvSpPr>
      <dsp:spPr>
        <a:xfrm>
          <a:off x="0" y="3646447"/>
          <a:ext cx="6492875" cy="7291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lvl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300" kern="1200"/>
            <a:t>Fazit </a:t>
          </a:r>
          <a:endParaRPr lang="en-US" sz="3300" kern="1200"/>
        </a:p>
      </dsp:txBody>
      <dsp:txXfrm>
        <a:off x="0" y="3646447"/>
        <a:ext cx="6492875" cy="729164"/>
      </dsp:txXfrm>
    </dsp:sp>
    <dsp:sp modelId="{A3FEB88E-9277-4F95-83D4-11B6843A134A}">
      <dsp:nvSpPr>
        <dsp:cNvPr id="0" name=""/>
        <dsp:cNvSpPr/>
      </dsp:nvSpPr>
      <dsp:spPr>
        <a:xfrm>
          <a:off x="0" y="4375611"/>
          <a:ext cx="6492875" cy="0"/>
        </a:xfrm>
        <a:prstGeom prst="lin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5BFFCCE-3C11-4737-B52B-913939E90CC5}">
      <dsp:nvSpPr>
        <dsp:cNvPr id="0" name=""/>
        <dsp:cNvSpPr/>
      </dsp:nvSpPr>
      <dsp:spPr>
        <a:xfrm>
          <a:off x="0" y="4375611"/>
          <a:ext cx="6492875" cy="7291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lvl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300" kern="1200"/>
            <a:t>Zukunft</a:t>
          </a:r>
          <a:endParaRPr lang="en-US" sz="3300" kern="1200"/>
        </a:p>
      </dsp:txBody>
      <dsp:txXfrm>
        <a:off x="0" y="4375611"/>
        <a:ext cx="6492875" cy="72916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5EC295-2E24-4FFB-A07A-665F48A388CD}">
      <dsp:nvSpPr>
        <dsp:cNvPr id="0" name=""/>
        <dsp:cNvSpPr/>
      </dsp:nvSpPr>
      <dsp:spPr>
        <a:xfrm>
          <a:off x="3080" y="1226005"/>
          <a:ext cx="2199649" cy="1396777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C18E57A-8172-4E28-A0D0-6921633E580E}">
      <dsp:nvSpPr>
        <dsp:cNvPr id="0" name=""/>
        <dsp:cNvSpPr/>
      </dsp:nvSpPr>
      <dsp:spPr>
        <a:xfrm>
          <a:off x="247486" y="1458190"/>
          <a:ext cx="2199649" cy="1396777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100" kern="1200"/>
            <a:t>Gut auf die Ausbildung angepasst</a:t>
          </a:r>
          <a:endParaRPr lang="en-US" sz="2100" kern="1200"/>
        </a:p>
      </dsp:txBody>
      <dsp:txXfrm>
        <a:off x="288396" y="1499100"/>
        <a:ext cx="2117829" cy="1314957"/>
      </dsp:txXfrm>
    </dsp:sp>
    <dsp:sp modelId="{C179C20B-4D8A-4FFB-A0AF-51E5C5301EA3}">
      <dsp:nvSpPr>
        <dsp:cNvPr id="0" name=""/>
        <dsp:cNvSpPr/>
      </dsp:nvSpPr>
      <dsp:spPr>
        <a:xfrm>
          <a:off x="2691541" y="1226005"/>
          <a:ext cx="2199649" cy="1396777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130AEB0-DC58-4936-B8C2-811670BCE86D}">
      <dsp:nvSpPr>
        <dsp:cNvPr id="0" name=""/>
        <dsp:cNvSpPr/>
      </dsp:nvSpPr>
      <dsp:spPr>
        <a:xfrm>
          <a:off x="2935947" y="1458190"/>
          <a:ext cx="2199649" cy="1396777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CH" sz="2100" kern="1200"/>
            <a:t>Grosse Selbständigkeit</a:t>
          </a:r>
          <a:endParaRPr lang="en-US" sz="2100" kern="1200"/>
        </a:p>
      </dsp:txBody>
      <dsp:txXfrm>
        <a:off x="2976857" y="1499100"/>
        <a:ext cx="2117829" cy="1314957"/>
      </dsp:txXfrm>
    </dsp:sp>
    <dsp:sp modelId="{C1EC776B-C4B6-4E20-A1A6-34ADFA2365FF}">
      <dsp:nvSpPr>
        <dsp:cNvPr id="0" name=""/>
        <dsp:cNvSpPr/>
      </dsp:nvSpPr>
      <dsp:spPr>
        <a:xfrm>
          <a:off x="5380002" y="1226005"/>
          <a:ext cx="2199649" cy="1396777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57EB379-4B4B-4A7C-96A5-54D692DB14A4}">
      <dsp:nvSpPr>
        <dsp:cNvPr id="0" name=""/>
        <dsp:cNvSpPr/>
      </dsp:nvSpPr>
      <dsp:spPr>
        <a:xfrm>
          <a:off x="5624408" y="1458190"/>
          <a:ext cx="2199649" cy="1396777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100" kern="1200"/>
            <a:t>SIS Dog hat viel Zeit in Anspruch genommen</a:t>
          </a:r>
          <a:endParaRPr lang="en-US" sz="2100" kern="1200"/>
        </a:p>
      </dsp:txBody>
      <dsp:txXfrm>
        <a:off x="5665318" y="1499100"/>
        <a:ext cx="2117829" cy="1314957"/>
      </dsp:txXfrm>
    </dsp:sp>
    <dsp:sp modelId="{C952A23F-E779-4F62-993B-DBDDDA4B0BC7}">
      <dsp:nvSpPr>
        <dsp:cNvPr id="0" name=""/>
        <dsp:cNvSpPr/>
      </dsp:nvSpPr>
      <dsp:spPr>
        <a:xfrm>
          <a:off x="8068463" y="1226005"/>
          <a:ext cx="2199649" cy="1396777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83EF7DD-4ABE-476D-A617-3F8B3BD5CC39}">
      <dsp:nvSpPr>
        <dsp:cNvPr id="0" name=""/>
        <dsp:cNvSpPr/>
      </dsp:nvSpPr>
      <dsp:spPr>
        <a:xfrm>
          <a:off x="8312869" y="1458190"/>
          <a:ext cx="2199649" cy="1396777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100" kern="1200"/>
            <a:t>Anspruchsvollster Teil: Checkliste schreiben</a:t>
          </a:r>
          <a:endParaRPr lang="en-US" sz="2100" kern="1200"/>
        </a:p>
      </dsp:txBody>
      <dsp:txXfrm>
        <a:off x="8353779" y="1499100"/>
        <a:ext cx="2117829" cy="131495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68839E-9ABE-44B1-8812-D97566EBEF5A}" type="datetimeFigureOut">
              <a:rPr lang="en-US" smtClean="0"/>
              <a:t>29-Apr-19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9FFA51-D9F0-4FBB-945B-2AE5EA1D7956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33800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CBCFFD-BB00-CC40-8AFD-EB9D88805DFC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13615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Inhalt der IPA:</a:t>
            </a:r>
            <a:r>
              <a:rPr lang="de-DE" baseline="0" dirty="0"/>
              <a:t> Zeitplan, Arbeitsjournal, Dokumentation und Präsentation</a:t>
            </a:r>
          </a:p>
          <a:p>
            <a:r>
              <a:rPr lang="de-DE" baseline="0" dirty="0"/>
              <a:t>Projekt um Schrauben zu verpacken</a:t>
            </a:r>
          </a:p>
          <a:p>
            <a:r>
              <a:rPr lang="de-DE" baseline="0" dirty="0"/>
              <a:t>Zeitbudget: 120h mit 30h Doku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9FFA51-D9F0-4FBB-945B-2AE5EA1D7956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70562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Nach</a:t>
            </a:r>
            <a:r>
              <a:rPr lang="de-DE" baseline="0" dirty="0"/>
              <a:t> der IPA erstellt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9FFA51-D9F0-4FBB-945B-2AE5EA1D7956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12752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8BD09B-114E-41DF-9857-BBB927787DA6}" type="datetimeFigureOut">
              <a:rPr lang="en-US" smtClean="0"/>
              <a:t>29-Apr-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7B19B8-0FD0-4766-8DC1-3977ED0048B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69273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8BD09B-114E-41DF-9857-BBB927787DA6}" type="datetimeFigureOut">
              <a:rPr lang="en-US" smtClean="0"/>
              <a:t>29-Apr-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7B19B8-0FD0-4766-8DC1-3977ED0048B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80750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8BD09B-114E-41DF-9857-BBB927787DA6}" type="datetimeFigureOut">
              <a:rPr lang="en-US" smtClean="0"/>
              <a:t>29-Apr-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7B19B8-0FD0-4766-8DC1-3977ED0048B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78088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With Image Vers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981075"/>
            <a:ext cx="12192000" cy="5876925"/>
          </a:xfr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Picture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56390" y="4394120"/>
            <a:ext cx="5639610" cy="1555200"/>
          </a:xfrm>
          <a:prstGeom prst="rect">
            <a:avLst/>
          </a:prstGeom>
          <a:solidFill>
            <a:schemeClr val="accent1"/>
          </a:solidFill>
        </p:spPr>
        <p:txBody>
          <a:bodyPr lIns="90000" tIns="46800" rIns="18000" bIns="46800">
            <a:noAutofit/>
          </a:bodyPr>
          <a:lstStyle>
            <a:lvl1pPr marL="0" indent="0">
              <a:buFont typeface="Arial" panose="020B0604020202020204" pitchFamily="34" charset="0"/>
              <a:buNone/>
              <a:defRPr lang="de-DE" sz="3200" cap="all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r>
              <a:rPr lang="de-DE" dirty="0"/>
              <a:t> titl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56390" y="5949320"/>
            <a:ext cx="2831783" cy="360000"/>
          </a:xfrm>
          <a:prstGeom prst="rect">
            <a:avLst/>
          </a:prstGeom>
          <a:solidFill>
            <a:schemeClr val="accent1"/>
          </a:solidFill>
        </p:spPr>
        <p:txBody>
          <a:bodyPr lIns="90000" tIns="46800" rIns="18000" bIns="4680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Author</a:t>
            </a:r>
            <a:r>
              <a:rPr lang="de-DE" dirty="0"/>
              <a:t>: Calibri / 18pt</a:t>
            </a:r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288173" y="5949320"/>
            <a:ext cx="2807827" cy="360000"/>
          </a:xfrm>
          <a:prstGeom prst="rect">
            <a:avLst/>
          </a:prstGeom>
          <a:solidFill>
            <a:schemeClr val="accent1"/>
          </a:solidFill>
        </p:spPr>
        <p:txBody>
          <a:bodyPr lIns="90000" tIns="46800" rIns="18000" bIns="4680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Date: </a:t>
            </a: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7888288" y="6533278"/>
            <a:ext cx="38608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GB" sz="800" b="0" i="0" smtClean="0">
                <a:solidFill>
                  <a:srgbClr val="A8ABAE"/>
                </a:solidFill>
                <a:latin typeface="Calibri Light"/>
                <a:cs typeface="Calibri Light"/>
              </a:defRPr>
            </a:lvl1pPr>
          </a:lstStyle>
          <a:p>
            <a:pPr algn="r"/>
            <a:r>
              <a:rPr lang="de-DE" dirty="0"/>
              <a:t>Page: </a:t>
            </a:r>
            <a:fld id="{880C08D8-3920-4F40-B183-C9516F93571F}" type="slidenum">
              <a:rPr/>
              <a:pPr algn="r"/>
              <a:t>‹Nr.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522206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8BD09B-114E-41DF-9857-BBB927787DA6}" type="datetimeFigureOut">
              <a:rPr lang="en-US" smtClean="0"/>
              <a:t>29-Apr-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7B19B8-0FD0-4766-8DC1-3977ED0048B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93577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8BD09B-114E-41DF-9857-BBB927787DA6}" type="datetimeFigureOut">
              <a:rPr lang="en-US" smtClean="0"/>
              <a:t>29-Apr-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7B19B8-0FD0-4766-8DC1-3977ED0048B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32037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8BD09B-114E-41DF-9857-BBB927787DA6}" type="datetimeFigureOut">
              <a:rPr lang="en-US" smtClean="0"/>
              <a:t>29-Apr-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7B19B8-0FD0-4766-8DC1-3977ED0048B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86018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8BD09B-114E-41DF-9857-BBB927787DA6}" type="datetimeFigureOut">
              <a:rPr lang="en-US" smtClean="0"/>
              <a:t>29-Apr-19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7B19B8-0FD0-4766-8DC1-3977ED0048B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43162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8BD09B-114E-41DF-9857-BBB927787DA6}" type="datetimeFigureOut">
              <a:rPr lang="en-US" smtClean="0"/>
              <a:t>29-Apr-19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7B19B8-0FD0-4766-8DC1-3977ED0048B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35292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8BD09B-114E-41DF-9857-BBB927787DA6}" type="datetimeFigureOut">
              <a:rPr lang="en-US" smtClean="0"/>
              <a:t>29-Apr-19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7B19B8-0FD0-4766-8DC1-3977ED0048B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52188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8BD09B-114E-41DF-9857-BBB927787DA6}" type="datetimeFigureOut">
              <a:rPr lang="en-US" smtClean="0"/>
              <a:t>29-Apr-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7B19B8-0FD0-4766-8DC1-3977ED0048B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76535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8BD09B-114E-41DF-9857-BBB927787DA6}" type="datetimeFigureOut">
              <a:rPr lang="en-US" smtClean="0"/>
              <a:t>29-Apr-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7B19B8-0FD0-4766-8DC1-3977ED0048B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85535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8BD09B-114E-41DF-9857-BBB927787DA6}" type="datetimeFigureOut">
              <a:rPr lang="en-US" smtClean="0"/>
              <a:t>29-Apr-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7B19B8-0FD0-4766-8DC1-3977ED0048B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26766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.pn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.jp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9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platzhalter 1"/>
          <p:cNvPicPr>
            <a:picLocks noGrp="1" noChangeAspect="1"/>
          </p:cNvPicPr>
          <p:nvPr>
            <p:ph type="pic" sz="quarter" idx="15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7" b="1037"/>
          <a:stretch>
            <a:fillRect/>
          </a:stretch>
        </p:blipFill>
        <p:spPr/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solidFill>
            <a:srgbClr val="E1001E"/>
          </a:solidFill>
          <a:ln>
            <a:solidFill>
              <a:srgbClr val="E1001E"/>
            </a:solidFill>
          </a:ln>
        </p:spPr>
        <p:txBody>
          <a:bodyPr/>
          <a:lstStyle/>
          <a:p>
            <a:r>
              <a:rPr lang="de-CH" dirty="0" smtClean="0"/>
              <a:t>Kippstation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solidFill>
            <a:srgbClr val="E1001E"/>
          </a:solidFill>
          <a:ln>
            <a:solidFill>
              <a:srgbClr val="E1001E"/>
            </a:solidFill>
          </a:ln>
        </p:spPr>
        <p:txBody>
          <a:bodyPr/>
          <a:lstStyle/>
          <a:p>
            <a:r>
              <a:rPr lang="de-CH" dirty="0" smtClean="0"/>
              <a:t>Luca Schäfli</a:t>
            </a:r>
            <a:endParaRPr lang="en-US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solidFill>
            <a:srgbClr val="E1001E"/>
          </a:solidFill>
          <a:ln>
            <a:solidFill>
              <a:srgbClr val="E1001E"/>
            </a:solidFill>
          </a:ln>
        </p:spPr>
        <p:txBody>
          <a:bodyPr/>
          <a:lstStyle/>
          <a:p>
            <a:r>
              <a:rPr lang="de-CH" dirty="0" smtClean="0"/>
              <a:t>03.05.2019</a:t>
            </a:r>
            <a:endParaRPr lang="en-US" dirty="0"/>
          </a:p>
        </p:txBody>
      </p:sp>
      <p:sp>
        <p:nvSpPr>
          <p:cNvPr id="9" name="BainBulletsConfiguration" hidden="1"/>
          <p:cNvSpPr txBox="1"/>
          <p:nvPr/>
        </p:nvSpPr>
        <p:spPr>
          <a:xfrm>
            <a:off x="1536701" y="12701"/>
            <a:ext cx="65" cy="20455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defTabSz="609529"/>
            <a:endParaRPr lang="en-US" sz="133" dirty="0" err="1">
              <a:solidFill>
                <a:srgbClr val="FFFFFF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2148" y="308249"/>
            <a:ext cx="2070234" cy="672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874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de-CH" dirty="0"/>
              <a:t>Standard Telegramme SIS</a:t>
            </a:r>
          </a:p>
          <a:p>
            <a:r>
              <a:rPr lang="de-CH" dirty="0"/>
              <a:t>Telegramme SFS</a:t>
            </a:r>
          </a:p>
          <a:p>
            <a:r>
              <a:rPr lang="de-CH" dirty="0"/>
              <a:t>Aufbau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de-CH" dirty="0"/>
              <a:t>Header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de-CH" dirty="0"/>
              <a:t>Inhalt</a:t>
            </a:r>
            <a:endParaRPr lang="en-US" dirty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/>
          </p:nvPr>
        </p:nvGraphicFramePr>
        <p:xfrm>
          <a:off x="851644" y="1856047"/>
          <a:ext cx="10515599" cy="255556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021098">
                  <a:extLst>
                    <a:ext uri="{9D8B030D-6E8A-4147-A177-3AD203B41FA5}">
                      <a16:colId xmlns:a16="http://schemas.microsoft.com/office/drawing/2014/main" val="668235366"/>
                    </a:ext>
                  </a:extLst>
                </a:gridCol>
                <a:gridCol w="1074694">
                  <a:extLst>
                    <a:ext uri="{9D8B030D-6E8A-4147-A177-3AD203B41FA5}">
                      <a16:colId xmlns:a16="http://schemas.microsoft.com/office/drawing/2014/main" val="2186987956"/>
                    </a:ext>
                  </a:extLst>
                </a:gridCol>
                <a:gridCol w="2420691">
                  <a:extLst>
                    <a:ext uri="{9D8B030D-6E8A-4147-A177-3AD203B41FA5}">
                      <a16:colId xmlns:a16="http://schemas.microsoft.com/office/drawing/2014/main" val="3421461099"/>
                    </a:ext>
                  </a:extLst>
                </a:gridCol>
                <a:gridCol w="382768">
                  <a:extLst>
                    <a:ext uri="{9D8B030D-6E8A-4147-A177-3AD203B41FA5}">
                      <a16:colId xmlns:a16="http://schemas.microsoft.com/office/drawing/2014/main" val="3759257356"/>
                    </a:ext>
                  </a:extLst>
                </a:gridCol>
                <a:gridCol w="4616348">
                  <a:extLst>
                    <a:ext uri="{9D8B030D-6E8A-4147-A177-3AD203B41FA5}">
                      <a16:colId xmlns:a16="http://schemas.microsoft.com/office/drawing/2014/main" val="255252721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eldnam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Datentyp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Wert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Beschreibung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291502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Protoko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2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TI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F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Telegrammprotokol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3654383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ersion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2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22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TIM-Version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4065224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DatagramCounter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4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000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Telegrammzähler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29902109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 err="1">
                          <a:effectLst/>
                        </a:rPr>
                        <a:t>CommError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2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??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ehler bei der Telegrammkommunikation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1533758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DatagramLenght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6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00020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Telegrammlänge - projektspezifisch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24331335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ender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6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PFA11.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ender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996433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Receiver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6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MFS0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Empfänger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0769545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equ_No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4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0332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Laufnummer des Telegramms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40174967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Handshak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2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AY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Handshake des Telegramms (Anforderung oder Bestätigung)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6507479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ourceServic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6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UB_CT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Name des Telegrammsenders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4799579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DestinationServic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6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MFS_CT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Zielservic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21276884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Operation ID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6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SS+OS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Operation ID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6280269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Operation Block Count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6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00000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Anzahl Datenblöck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56707472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Operation Block </a:t>
                      </a:r>
                      <a:r>
                        <a:rPr lang="de-CH" sz="1100" dirty="0" err="1">
                          <a:effectLst/>
                        </a:rPr>
                        <a:t>Lenght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6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000136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Datenblocklänge - projektspezifisch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658772405"/>
                  </a:ext>
                </a:extLst>
              </a:tr>
            </a:tbl>
          </a:graphicData>
        </a:graphic>
      </p:graphicFrame>
      <p:graphicFrame>
        <p:nvGraphicFramePr>
          <p:cNvPr id="7" name="Tabelle 6"/>
          <p:cNvGraphicFramePr>
            <a:graphicFrameLocks noGrp="1"/>
          </p:cNvGraphicFramePr>
          <p:nvPr>
            <p:extLst/>
          </p:nvPr>
        </p:nvGraphicFramePr>
        <p:xfrm>
          <a:off x="838200" y="1847435"/>
          <a:ext cx="10515599" cy="420611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021098">
                  <a:extLst>
                    <a:ext uri="{9D8B030D-6E8A-4147-A177-3AD203B41FA5}">
                      <a16:colId xmlns:a16="http://schemas.microsoft.com/office/drawing/2014/main" val="1498817725"/>
                    </a:ext>
                  </a:extLst>
                </a:gridCol>
                <a:gridCol w="1074694">
                  <a:extLst>
                    <a:ext uri="{9D8B030D-6E8A-4147-A177-3AD203B41FA5}">
                      <a16:colId xmlns:a16="http://schemas.microsoft.com/office/drawing/2014/main" val="3634207026"/>
                    </a:ext>
                  </a:extLst>
                </a:gridCol>
                <a:gridCol w="2420691">
                  <a:extLst>
                    <a:ext uri="{9D8B030D-6E8A-4147-A177-3AD203B41FA5}">
                      <a16:colId xmlns:a16="http://schemas.microsoft.com/office/drawing/2014/main" val="3272426199"/>
                    </a:ext>
                  </a:extLst>
                </a:gridCol>
                <a:gridCol w="382768">
                  <a:extLst>
                    <a:ext uri="{9D8B030D-6E8A-4147-A177-3AD203B41FA5}">
                      <a16:colId xmlns:a16="http://schemas.microsoft.com/office/drawing/2014/main" val="1917000251"/>
                    </a:ext>
                  </a:extLst>
                </a:gridCol>
                <a:gridCol w="4616348">
                  <a:extLst>
                    <a:ext uri="{9D8B030D-6E8A-4147-A177-3AD203B41FA5}">
                      <a16:colId xmlns:a16="http://schemas.microsoft.com/office/drawing/2014/main" val="172810814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Data_Start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Char[6]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NU20..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ixer Wert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2876342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ource_PLC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6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PFA11.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Quell SPS z.B. PFA1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8350291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ourc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12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11001011000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Quell Meldepunkt bzw. Platz z.B. 11 001 0110 00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4755489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HuIdent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20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…………0066018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Handling Unit (ID ist 8-stellig, 6-stellige werden mit führenden Nullen aufgefüllt)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4626114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TeleTypeSIS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3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POR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PLR = PLC Status</a:t>
                      </a:r>
                      <a:endParaRPr lang="en-US" sz="1100" dirty="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GSR = Einschalt-Gruppenstatus</a:t>
                      </a:r>
                      <a:endParaRPr lang="en-US" sz="1100" dirty="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PSR = Positionsstatus</a:t>
                      </a:r>
                      <a:endParaRPr lang="en-US" sz="1100" dirty="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POR = Position belegt / nicht belegt</a:t>
                      </a:r>
                      <a:endParaRPr lang="en-US" sz="1100" dirty="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 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9226784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OP_Mod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Char[1]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Operation Mode Source</a:t>
                      </a:r>
                      <a:endParaRPr lang="en-US" sz="110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0 = Automatik gestartet</a:t>
                      </a:r>
                      <a:endParaRPr lang="en-US" sz="110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1 = Gestoppt / Handbetrieb</a:t>
                      </a:r>
                      <a:endParaRPr lang="en-US" sz="110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9 = GSR falsch ausgelöst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9596050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Belegung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1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0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Belegung </a:t>
                      </a:r>
                      <a:endParaRPr lang="en-US" sz="110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0 = Meldepunkt frei</a:t>
                      </a:r>
                      <a:endParaRPr lang="en-US" sz="110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1 = Meldepunkt belegt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9708235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ErrorCod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3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123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V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Werte aus Fehlerliste zur Informationsanzeig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75475802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HUIdent 2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8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Handling Unit 2. Halbpalette (ID ist 8-stellig)</a:t>
                      </a:r>
                      <a:endParaRPr lang="en-US" sz="1100" dirty="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(gespiegelt von DS)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53805706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Dummy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74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…………………………</a:t>
                      </a:r>
                      <a:endParaRPr lang="en-US" sz="110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…………………………</a:t>
                      </a:r>
                      <a:endParaRPr lang="en-US" sz="110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………………….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Dummy Feld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90053096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End_Of_Messag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har[2]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**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Ende Kennzeichen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897529086"/>
                  </a:ext>
                </a:extLst>
              </a:tr>
            </a:tbl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Aufbau eines Telegrammes (CSS+OS)</a:t>
            </a:r>
            <a:endParaRPr lang="en-US" dirty="0"/>
          </a:p>
        </p:txBody>
      </p:sp>
      <p:sp>
        <p:nvSpPr>
          <p:cNvPr id="6" name="Inhaltsplatzhalter 3"/>
          <p:cNvSpPr txBox="1">
            <a:spLocks/>
          </p:cNvSpPr>
          <p:nvPr/>
        </p:nvSpPr>
        <p:spPr>
          <a:xfrm>
            <a:off x="795612" y="6075362"/>
            <a:ext cx="11237259" cy="782638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TI220033??000200PFA11.MFS01.0032AYSUB_CTMFS_CTCSS+OS000001000136</a:t>
            </a:r>
          </a:p>
          <a:p>
            <a:pPr marL="0" indent="0">
              <a:buNone/>
            </a:pPr>
            <a:r>
              <a:rPr lang="en-US" sz="2000" dirty="0"/>
              <a:t>NU20..PFA11.11001011000100000000000000660181POR.0.....................................................................................** </a:t>
            </a:r>
          </a:p>
        </p:txBody>
      </p:sp>
    </p:spTree>
    <p:extLst>
      <p:ext uri="{BB962C8B-B14F-4D97-AF65-F5344CB8AC3E}">
        <p14:creationId xmlns:p14="http://schemas.microsoft.com/office/powerpoint/2010/main" val="4023137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E214AA7-F028-4A0D-8698-61AEC754D1B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2000" cy="1598340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159933" y="995318"/>
            <a:ext cx="9872134" cy="1193968"/>
          </a:xfrm>
          <a:solidFill>
            <a:srgbClr val="FFFFFF"/>
          </a:solidFill>
          <a:ln w="38100">
            <a:solidFill>
              <a:srgbClr val="7F7F7F"/>
            </a:solidFill>
            <a:miter lim="800000"/>
          </a:ln>
        </p:spPr>
        <p:txBody>
          <a:bodyPr>
            <a:normAutofit/>
          </a:bodyPr>
          <a:lstStyle/>
          <a:p>
            <a:pPr algn="ctr"/>
            <a:r>
              <a:rPr lang="de-CH" sz="3600">
                <a:solidFill>
                  <a:srgbClr val="3F3F3F"/>
                </a:solidFill>
              </a:rPr>
              <a:t>CTM+KS / CTS+KR Telegramm</a:t>
            </a:r>
            <a:endParaRPr lang="en-US" sz="3600">
              <a:solidFill>
                <a:srgbClr val="3F3F3F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476915" y="2888250"/>
            <a:ext cx="4297351" cy="2959777"/>
          </a:xfrm>
        </p:spPr>
        <p:txBody>
          <a:bodyPr anchor="t">
            <a:normAutofit/>
          </a:bodyPr>
          <a:lstStyle/>
          <a:p>
            <a:r>
              <a:rPr lang="de-CH" sz="2000"/>
              <a:t>CTM+KS steuert die Kippstation</a:t>
            </a:r>
          </a:p>
          <a:p>
            <a:r>
              <a:rPr lang="de-CH" sz="2000"/>
              <a:t>CTS+KR gibt Rückmeldung</a:t>
            </a:r>
          </a:p>
          <a:p>
            <a:r>
              <a:rPr lang="de-CH" sz="2000"/>
              <a:t>Beide Telegramme sind gleich aufgebaut</a:t>
            </a:r>
          </a:p>
          <a:p>
            <a:r>
              <a:rPr lang="de-CH" sz="2000"/>
              <a:t>Die Telegramme schreiben direkt auf das Image der Kippstation</a:t>
            </a:r>
            <a:endParaRPr lang="en-US" sz="200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6206FDC-2777-4D7F-AF9C-73413DA664C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6096000" y="2888250"/>
            <a:ext cx="0" cy="2769135"/>
          </a:xfrm>
          <a:prstGeom prst="line">
            <a:avLst/>
          </a:prstGeom>
          <a:ln w="190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417731" y="2888250"/>
            <a:ext cx="4292594" cy="2959778"/>
          </a:xfrm>
        </p:spPr>
        <p:txBody>
          <a:bodyPr anchor="t">
            <a:normAutofit/>
          </a:bodyPr>
          <a:lstStyle/>
          <a:p>
            <a:r>
              <a:rPr lang="de-CH" sz="1900"/>
              <a:t>Wichtige Telegrammdaten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de-CH" sz="1900"/>
              <a:t>Auftrag	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de-CH" sz="1900"/>
              <a:t>Reinigen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de-CH" sz="1900"/>
              <a:t>Kippen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de-CH" sz="1900"/>
              <a:t>Winkel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de-CH" sz="1900"/>
              <a:t>Kippen_165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de-CH" sz="1900"/>
              <a:t>Wartezeit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de-CH" sz="1900"/>
              <a:t>Sortiermaschine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de-CH" sz="1900"/>
              <a:t>Füllstand</a:t>
            </a:r>
            <a:endParaRPr lang="en-US" sz="1900"/>
          </a:p>
          <a:p>
            <a:endParaRPr lang="en-US" sz="1900"/>
          </a:p>
        </p:txBody>
      </p:sp>
    </p:spTree>
    <p:extLst>
      <p:ext uri="{BB962C8B-B14F-4D97-AF65-F5344CB8AC3E}">
        <p14:creationId xmlns:p14="http://schemas.microsoft.com/office/powerpoint/2010/main" val="22403338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6">
            <a:extLst>
              <a:ext uri="{FF2B5EF4-FFF2-40B4-BE49-F238E27FC236}">
                <a16:creationId xmlns:a16="http://schemas.microsoft.com/office/drawing/2014/main" id="{867D4867-5BA7-4462-B2F6-A23F4A622AA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54296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3467" y="643467"/>
            <a:ext cx="3363974" cy="1597315"/>
          </a:xfrm>
          <a:noFill/>
          <a:ln w="19050">
            <a:solidFill>
              <a:schemeClr val="bg1"/>
            </a:solidFill>
          </a:ln>
        </p:spPr>
        <p:txBody>
          <a:bodyPr vert="horz" wrap="square" lIns="91440" tIns="45720" rIns="91440" bIns="45720" rtlCol="0" anchor="ctr">
            <a:normAutofit/>
          </a:bodyPr>
          <a:lstStyle/>
          <a:p>
            <a:pPr algn="ctr"/>
            <a:r>
              <a:rPr lang="en-US" sz="28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Visualisierung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half" idx="2"/>
          </p:nvPr>
        </p:nvSpPr>
        <p:spPr>
          <a:xfrm>
            <a:off x="643468" y="2638044"/>
            <a:ext cx="3363974" cy="3415622"/>
          </a:xfrm>
        </p:spPr>
        <p:txBody>
          <a:bodyPr vert="horz" lIns="91440" tIns="45720" rIns="91440" bIns="45720" rtlCol="0">
            <a:norm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Wird ebenfalls erneuert</a:t>
            </a:r>
          </a:p>
          <a:p>
            <a:r>
              <a:rPr lang="en-US" sz="2000">
                <a:solidFill>
                  <a:schemeClr val="bg1"/>
                </a:solidFill>
              </a:rPr>
              <a:t>War nicht Teil er IPA</a:t>
            </a:r>
          </a:p>
          <a:p>
            <a:r>
              <a:rPr lang="en-US" sz="2000">
                <a:solidFill>
                  <a:schemeClr val="bg1"/>
                </a:solidFill>
              </a:rPr>
              <a:t>Schnittstelle wird später definiert, wenn die Spezifikation dafür fertig ist</a:t>
            </a:r>
          </a:p>
          <a:p>
            <a:endParaRPr lang="en-US" sz="2000">
              <a:solidFill>
                <a:schemeClr val="bg1"/>
              </a:solidFill>
            </a:endParaRPr>
          </a:p>
        </p:txBody>
      </p:sp>
      <p:pic>
        <p:nvPicPr>
          <p:cNvPr id="4" name="Inhaltsplatzhalter 3" descr="R:\SFS-Heerbrugg\C Projekte\P-006172 AKL Sortierung\02_Arbeitsordner\04_Automation\31_Planungsgrundlagen Kippstation, FA\00_Istaufnahme\dlu_31012019\IMG_4861.JPG"/>
          <p:cNvPicPr>
            <a:picLocks noGrp="1"/>
          </p:cNvPicPr>
          <p:nvPr>
            <p:ph sz="half"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" b="22411"/>
          <a:stretch/>
        </p:blipFill>
        <p:spPr bwMode="auto">
          <a:xfrm>
            <a:off x="5297763" y="1529832"/>
            <a:ext cx="6250769" cy="3637468"/>
          </a:xfrm>
          <a:prstGeom prst="rect">
            <a:avLst/>
          </a:prstGeom>
          <a:noFill/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1148027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6753252F-4873-4F63-801D-CC719279A7D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47C8CCB-F95D-4249-92DD-651249D3535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2013557" cy="6858000"/>
          </a:xfrm>
          <a:prstGeom prst="rect">
            <a:avLst/>
          </a:prstGeom>
          <a:solidFill>
            <a:srgbClr val="3861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0080" y="2074363"/>
            <a:ext cx="2752354" cy="2709275"/>
          </a:xfrm>
          <a:prstGeom prst="ellipse">
            <a:avLst/>
          </a:prstGeom>
          <a:solidFill>
            <a:srgbClr val="262626"/>
          </a:solidFill>
          <a:ln w="174625" cmpd="thinThick">
            <a:solidFill>
              <a:srgbClr val="262626"/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4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Visualisierung für die Präsentation</a:t>
            </a:r>
          </a:p>
        </p:txBody>
      </p:sp>
      <p:pic>
        <p:nvPicPr>
          <p:cNvPr id="7" name="Inhaltsplatzhalter 6"/>
          <p:cNvPicPr>
            <a:picLocks noGrp="1" noChangeAspect="1"/>
          </p:cNvPicPr>
          <p:nvPr>
            <p:ph sz="half" idx="1"/>
          </p:nvPr>
        </p:nvPicPr>
        <p:blipFill>
          <a:blip r:embed="rId3"/>
          <a:stretch>
            <a:fillRect/>
          </a:stretch>
        </p:blipFill>
        <p:spPr>
          <a:xfrm>
            <a:off x="4038600" y="1172008"/>
            <a:ext cx="7188199" cy="4510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71457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46C2E80F-49A6-4372-B103-219D417A55E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4096" y="470925"/>
            <a:ext cx="4381009" cy="5892104"/>
          </a:xfrm>
          <a:custGeom>
            <a:avLst/>
            <a:gdLst>
              <a:gd name="connsiteX0" fmla="*/ 0 w 4381009"/>
              <a:gd name="connsiteY0" fmla="*/ 0 h 5892104"/>
              <a:gd name="connsiteX1" fmla="*/ 4157628 w 4381009"/>
              <a:gd name="connsiteY1" fmla="*/ 0 h 5892104"/>
              <a:gd name="connsiteX2" fmla="*/ 4169302 w 4381009"/>
              <a:gd name="connsiteY2" fmla="*/ 68659 h 5892104"/>
              <a:gd name="connsiteX3" fmla="*/ 4191571 w 4381009"/>
              <a:gd name="connsiteY3" fmla="*/ 205472 h 5892104"/>
              <a:gd name="connsiteX4" fmla="*/ 4213368 w 4381009"/>
              <a:gd name="connsiteY4" fmla="*/ 342890 h 5892104"/>
              <a:gd name="connsiteX5" fmla="*/ 4232030 w 4381009"/>
              <a:gd name="connsiteY5" fmla="*/ 480913 h 5892104"/>
              <a:gd name="connsiteX6" fmla="*/ 4250848 w 4381009"/>
              <a:gd name="connsiteY6" fmla="*/ 618332 h 5892104"/>
              <a:gd name="connsiteX7" fmla="*/ 4268412 w 4381009"/>
              <a:gd name="connsiteY7" fmla="*/ 756355 h 5892104"/>
              <a:gd name="connsiteX8" fmla="*/ 4283467 w 4381009"/>
              <a:gd name="connsiteY8" fmla="*/ 892563 h 5892104"/>
              <a:gd name="connsiteX9" fmla="*/ 4297737 w 4381009"/>
              <a:gd name="connsiteY9" fmla="*/ 1030587 h 5892104"/>
              <a:gd name="connsiteX10" fmla="*/ 4310754 w 4381009"/>
              <a:gd name="connsiteY10" fmla="*/ 1168005 h 5892104"/>
              <a:gd name="connsiteX11" fmla="*/ 4322045 w 4381009"/>
              <a:gd name="connsiteY11" fmla="*/ 1303002 h 5892104"/>
              <a:gd name="connsiteX12" fmla="*/ 4333336 w 4381009"/>
              <a:gd name="connsiteY12" fmla="*/ 1439815 h 5892104"/>
              <a:gd name="connsiteX13" fmla="*/ 4342745 w 4381009"/>
              <a:gd name="connsiteY13" fmla="*/ 1574812 h 5892104"/>
              <a:gd name="connsiteX14" fmla="*/ 4350115 w 4381009"/>
              <a:gd name="connsiteY14" fmla="*/ 1709808 h 5892104"/>
              <a:gd name="connsiteX15" fmla="*/ 4357799 w 4381009"/>
              <a:gd name="connsiteY15" fmla="*/ 1844200 h 5892104"/>
              <a:gd name="connsiteX16" fmla="*/ 4364229 w 4381009"/>
              <a:gd name="connsiteY16" fmla="*/ 1977381 h 5892104"/>
              <a:gd name="connsiteX17" fmla="*/ 4368777 w 4381009"/>
              <a:gd name="connsiteY17" fmla="*/ 2109351 h 5892104"/>
              <a:gd name="connsiteX18" fmla="*/ 4372697 w 4381009"/>
              <a:gd name="connsiteY18" fmla="*/ 2241321 h 5892104"/>
              <a:gd name="connsiteX19" fmla="*/ 4376461 w 4381009"/>
              <a:gd name="connsiteY19" fmla="*/ 2372080 h 5892104"/>
              <a:gd name="connsiteX20" fmla="*/ 4378186 w 4381009"/>
              <a:gd name="connsiteY20" fmla="*/ 2501023 h 5892104"/>
              <a:gd name="connsiteX21" fmla="*/ 4380068 w 4381009"/>
              <a:gd name="connsiteY21" fmla="*/ 2629966 h 5892104"/>
              <a:gd name="connsiteX22" fmla="*/ 4381009 w 4381009"/>
              <a:gd name="connsiteY22" fmla="*/ 2757093 h 5892104"/>
              <a:gd name="connsiteX23" fmla="*/ 4380068 w 4381009"/>
              <a:gd name="connsiteY23" fmla="*/ 2883010 h 5892104"/>
              <a:gd name="connsiteX24" fmla="*/ 4380068 w 4381009"/>
              <a:gd name="connsiteY24" fmla="*/ 3007715 h 5892104"/>
              <a:gd name="connsiteX25" fmla="*/ 4378186 w 4381009"/>
              <a:gd name="connsiteY25" fmla="*/ 3131210 h 5892104"/>
              <a:gd name="connsiteX26" fmla="*/ 4375363 w 4381009"/>
              <a:gd name="connsiteY26" fmla="*/ 3252283 h 5892104"/>
              <a:gd name="connsiteX27" fmla="*/ 4372697 w 4381009"/>
              <a:gd name="connsiteY27" fmla="*/ 3372146 h 5892104"/>
              <a:gd name="connsiteX28" fmla="*/ 4369718 w 4381009"/>
              <a:gd name="connsiteY28" fmla="*/ 3489587 h 5892104"/>
              <a:gd name="connsiteX29" fmla="*/ 4365170 w 4381009"/>
              <a:gd name="connsiteY29" fmla="*/ 3606423 h 5892104"/>
              <a:gd name="connsiteX30" fmla="*/ 4360309 w 4381009"/>
              <a:gd name="connsiteY30" fmla="*/ 3721443 h 5892104"/>
              <a:gd name="connsiteX31" fmla="*/ 4355918 w 4381009"/>
              <a:gd name="connsiteY31" fmla="*/ 3834041 h 5892104"/>
              <a:gd name="connsiteX32" fmla="*/ 4343529 w 4381009"/>
              <a:gd name="connsiteY32" fmla="*/ 4053789 h 5892104"/>
              <a:gd name="connsiteX33" fmla="*/ 4330356 w 4381009"/>
              <a:gd name="connsiteY33" fmla="*/ 4264457 h 5892104"/>
              <a:gd name="connsiteX34" fmla="*/ 4316556 w 4381009"/>
              <a:gd name="connsiteY34" fmla="*/ 4466650 h 5892104"/>
              <a:gd name="connsiteX35" fmla="*/ 4301344 w 4381009"/>
              <a:gd name="connsiteY35" fmla="*/ 4657946 h 5892104"/>
              <a:gd name="connsiteX36" fmla="*/ 4285506 w 4381009"/>
              <a:gd name="connsiteY36" fmla="*/ 4840767 h 5892104"/>
              <a:gd name="connsiteX37" fmla="*/ 4268412 w 4381009"/>
              <a:gd name="connsiteY37" fmla="*/ 5010269 h 5892104"/>
              <a:gd name="connsiteX38" fmla="*/ 4251633 w 4381009"/>
              <a:gd name="connsiteY38" fmla="*/ 5169481 h 5892104"/>
              <a:gd name="connsiteX39" fmla="*/ 4234853 w 4381009"/>
              <a:gd name="connsiteY39" fmla="*/ 5315980 h 5892104"/>
              <a:gd name="connsiteX40" fmla="*/ 4219014 w 4381009"/>
              <a:gd name="connsiteY40" fmla="*/ 5450371 h 5892104"/>
              <a:gd name="connsiteX41" fmla="*/ 4203959 w 4381009"/>
              <a:gd name="connsiteY41" fmla="*/ 5569628 h 5892104"/>
              <a:gd name="connsiteX42" fmla="*/ 4189689 w 4381009"/>
              <a:gd name="connsiteY42" fmla="*/ 5677384 h 5892104"/>
              <a:gd name="connsiteX43" fmla="*/ 4177770 w 4381009"/>
              <a:gd name="connsiteY43" fmla="*/ 5768189 h 5892104"/>
              <a:gd name="connsiteX44" fmla="*/ 4166479 w 4381009"/>
              <a:gd name="connsiteY44" fmla="*/ 5844465 h 5892104"/>
              <a:gd name="connsiteX45" fmla="*/ 4159132 w 4381009"/>
              <a:gd name="connsiteY45" fmla="*/ 5892104 h 5892104"/>
              <a:gd name="connsiteX46" fmla="*/ 0 w 4381009"/>
              <a:gd name="connsiteY46" fmla="*/ 5892104 h 5892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4381009" h="5892104">
                <a:moveTo>
                  <a:pt x="0" y="0"/>
                </a:moveTo>
                <a:lnTo>
                  <a:pt x="4157628" y="0"/>
                </a:lnTo>
                <a:lnTo>
                  <a:pt x="4169302" y="68659"/>
                </a:lnTo>
                <a:lnTo>
                  <a:pt x="4191571" y="205472"/>
                </a:lnTo>
                <a:lnTo>
                  <a:pt x="4213368" y="342890"/>
                </a:lnTo>
                <a:lnTo>
                  <a:pt x="4232030" y="480913"/>
                </a:lnTo>
                <a:lnTo>
                  <a:pt x="4250848" y="618332"/>
                </a:lnTo>
                <a:lnTo>
                  <a:pt x="4268412" y="756355"/>
                </a:lnTo>
                <a:lnTo>
                  <a:pt x="4283467" y="892563"/>
                </a:lnTo>
                <a:lnTo>
                  <a:pt x="4297737" y="1030587"/>
                </a:lnTo>
                <a:lnTo>
                  <a:pt x="4310754" y="1168005"/>
                </a:lnTo>
                <a:lnTo>
                  <a:pt x="4322045" y="1303002"/>
                </a:lnTo>
                <a:lnTo>
                  <a:pt x="4333336" y="1439815"/>
                </a:lnTo>
                <a:lnTo>
                  <a:pt x="4342745" y="1574812"/>
                </a:lnTo>
                <a:lnTo>
                  <a:pt x="4350115" y="1709808"/>
                </a:lnTo>
                <a:lnTo>
                  <a:pt x="4357799" y="1844200"/>
                </a:lnTo>
                <a:lnTo>
                  <a:pt x="4364229" y="1977381"/>
                </a:lnTo>
                <a:lnTo>
                  <a:pt x="4368777" y="2109351"/>
                </a:lnTo>
                <a:lnTo>
                  <a:pt x="4372697" y="2241321"/>
                </a:lnTo>
                <a:lnTo>
                  <a:pt x="4376461" y="2372080"/>
                </a:lnTo>
                <a:lnTo>
                  <a:pt x="4378186" y="2501023"/>
                </a:lnTo>
                <a:lnTo>
                  <a:pt x="4380068" y="2629966"/>
                </a:lnTo>
                <a:lnTo>
                  <a:pt x="4381009" y="2757093"/>
                </a:lnTo>
                <a:lnTo>
                  <a:pt x="4380068" y="2883010"/>
                </a:lnTo>
                <a:lnTo>
                  <a:pt x="4380068" y="3007715"/>
                </a:lnTo>
                <a:lnTo>
                  <a:pt x="4378186" y="3131210"/>
                </a:lnTo>
                <a:lnTo>
                  <a:pt x="4375363" y="3252283"/>
                </a:lnTo>
                <a:lnTo>
                  <a:pt x="4372697" y="3372146"/>
                </a:lnTo>
                <a:lnTo>
                  <a:pt x="4369718" y="3489587"/>
                </a:lnTo>
                <a:lnTo>
                  <a:pt x="4365170" y="3606423"/>
                </a:lnTo>
                <a:lnTo>
                  <a:pt x="4360309" y="3721443"/>
                </a:lnTo>
                <a:lnTo>
                  <a:pt x="4355918" y="3834041"/>
                </a:lnTo>
                <a:lnTo>
                  <a:pt x="4343529" y="4053789"/>
                </a:lnTo>
                <a:lnTo>
                  <a:pt x="4330356" y="4264457"/>
                </a:lnTo>
                <a:lnTo>
                  <a:pt x="4316556" y="4466650"/>
                </a:lnTo>
                <a:lnTo>
                  <a:pt x="4301344" y="4657946"/>
                </a:lnTo>
                <a:lnTo>
                  <a:pt x="4285506" y="4840767"/>
                </a:lnTo>
                <a:lnTo>
                  <a:pt x="4268412" y="5010269"/>
                </a:lnTo>
                <a:lnTo>
                  <a:pt x="4251633" y="5169481"/>
                </a:lnTo>
                <a:lnTo>
                  <a:pt x="4234853" y="5315980"/>
                </a:lnTo>
                <a:lnTo>
                  <a:pt x="4219014" y="5450371"/>
                </a:lnTo>
                <a:lnTo>
                  <a:pt x="4203959" y="5569628"/>
                </a:lnTo>
                <a:lnTo>
                  <a:pt x="4189689" y="5677384"/>
                </a:lnTo>
                <a:lnTo>
                  <a:pt x="4177770" y="5768189"/>
                </a:lnTo>
                <a:lnTo>
                  <a:pt x="4166479" y="5844465"/>
                </a:lnTo>
                <a:lnTo>
                  <a:pt x="4159132" y="5892104"/>
                </a:lnTo>
                <a:lnTo>
                  <a:pt x="0" y="5892104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63029" y="1012004"/>
            <a:ext cx="3416158" cy="4795408"/>
          </a:xfrm>
        </p:spPr>
        <p:txBody>
          <a:bodyPr>
            <a:normAutofit/>
          </a:bodyPr>
          <a:lstStyle/>
          <a:p>
            <a:r>
              <a:rPr lang="de-DE">
                <a:solidFill>
                  <a:srgbClr val="FFFFFF"/>
                </a:solidFill>
              </a:rPr>
              <a:t>Move Modul Eingänge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1165F8C-496F-4F2D-BB05-0B6FF6DFCB5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3577012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876248C8-0720-48AB-91BA-5F530BB41E5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220924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1261871" y="545676"/>
            <a:ext cx="9858383" cy="1325562"/>
          </a:xfrm>
        </p:spPr>
        <p:txBody>
          <a:bodyPr>
            <a:normAutofit/>
          </a:bodyPr>
          <a:lstStyle/>
          <a:p>
            <a:r>
              <a:rPr lang="de-DE" dirty="0"/>
              <a:t>Move Modul Eingänge</a:t>
            </a:r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23BEDA7-D0B8-4802-8168-92452653BC9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" cy="6858000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2EFF34B-7B1A-4F9D-8CEE-A40962BC7C2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763724" y="0"/>
            <a:ext cx="457200" cy="6858000"/>
          </a:xfrm>
          <a:prstGeom prst="rect">
            <a:avLst/>
          </a:prstGeom>
          <a:solidFill>
            <a:schemeClr val="tx1">
              <a:lumMod val="65000"/>
              <a:lumOff val="3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aphicFrame>
        <p:nvGraphicFramePr>
          <p:cNvPr id="9" name="Inhaltsplatzhalter 10">
            <a:extLst>
              <a:ext uri="{FF2B5EF4-FFF2-40B4-BE49-F238E27FC236}">
                <a16:creationId xmlns:a16="http://schemas.microsoft.com/office/drawing/2014/main" id="{0EF92D19-42CF-4246-9749-7BB3874565C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5194464"/>
              </p:ext>
            </p:extLst>
          </p:nvPr>
        </p:nvGraphicFramePr>
        <p:xfrm>
          <a:off x="1352315" y="1501468"/>
          <a:ext cx="9700385" cy="519199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524974">
                  <a:extLst>
                    <a:ext uri="{9D8B030D-6E8A-4147-A177-3AD203B41FA5}">
                      <a16:colId xmlns:a16="http://schemas.microsoft.com/office/drawing/2014/main" val="3451109830"/>
                    </a:ext>
                  </a:extLst>
                </a:gridCol>
                <a:gridCol w="1081134">
                  <a:extLst>
                    <a:ext uri="{9D8B030D-6E8A-4147-A177-3AD203B41FA5}">
                      <a16:colId xmlns:a16="http://schemas.microsoft.com/office/drawing/2014/main" val="2671062654"/>
                    </a:ext>
                  </a:extLst>
                </a:gridCol>
                <a:gridCol w="2448655">
                  <a:extLst>
                    <a:ext uri="{9D8B030D-6E8A-4147-A177-3AD203B41FA5}">
                      <a16:colId xmlns:a16="http://schemas.microsoft.com/office/drawing/2014/main" val="3967888270"/>
                    </a:ext>
                  </a:extLst>
                </a:gridCol>
                <a:gridCol w="3645622">
                  <a:extLst>
                    <a:ext uri="{9D8B030D-6E8A-4147-A177-3AD203B41FA5}">
                      <a16:colId xmlns:a16="http://schemas.microsoft.com/office/drawing/2014/main" val="2008315043"/>
                    </a:ext>
                  </a:extLst>
                </a:gridCol>
              </a:tblGrid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Parameter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Typ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Art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eschreibung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682616707"/>
                  </a:ext>
                </a:extLst>
              </a:tr>
              <a:tr h="175321">
                <a:tc gridSpan="4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edienung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0385871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Auto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Wahlschalter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Auto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1662078041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Hand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Wahlschalter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Hand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660213083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dirty="0" err="1">
                          <a:effectLst/>
                        </a:rPr>
                        <a:t>StartJob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Schlüsselschalter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Auftrag Start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3294071410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ManualUp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Drehschalter Imp.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Kippstation Auf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2818878859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ManualDown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Drehschalter Imp.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Kippstation Ab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1539684069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QuitCleaning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Impulstaster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dirty="0">
                          <a:effectLst/>
                        </a:rPr>
                        <a:t>Reinigung Quittieren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140892317"/>
                  </a:ext>
                </a:extLst>
              </a:tr>
              <a:tr h="175321">
                <a:tc gridSpan="4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dirty="0">
                          <a:effectLst/>
                        </a:rPr>
                        <a:t>Sensorik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5032160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HoistingDown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Initiator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dirty="0">
                          <a:effectLst/>
                        </a:rPr>
                        <a:t>Kippstation unten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622479431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HoistingUp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Initiator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dirty="0">
                          <a:effectLst/>
                        </a:rPr>
                        <a:t>Kippstation oben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3538280020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Occupied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Initiator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WAK in Kippstation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2442416543"/>
                  </a:ext>
                </a:extLst>
              </a:tr>
              <a:tr h="175321">
                <a:tc gridSpan="4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Sicherheit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0590647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Overload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Hilfskontakt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Motorschutzschalter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65862428"/>
                  </a:ext>
                </a:extLst>
              </a:tr>
              <a:tr h="175321">
                <a:tc gridSpan="4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Austauschsignale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31550088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MinimumLeve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Externes Signa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Mindestfüllstand unterschritten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3948576289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SortMachineReady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Externes Signa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Sortiermaschine bereit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1148732810"/>
                  </a:ext>
                </a:extLst>
              </a:tr>
              <a:tr h="175321">
                <a:tc gridSpan="4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AS-AS Signale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8413239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CraneGiveReady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Profinet Signa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RGB zu FA: Freigabe Übergabe erlaubt 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3584622371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CraneGiveStart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Profinet Signa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RBG zu FA: Start der Übergabe 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2753818368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CraneGiveEnd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dirty="0" err="1">
                          <a:effectLst/>
                        </a:rPr>
                        <a:t>Profinet</a:t>
                      </a:r>
                      <a:r>
                        <a:rPr lang="de-CH" sz="1000" dirty="0">
                          <a:effectLst/>
                        </a:rPr>
                        <a:t> Signal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RBG zu FA: Ende der Übergabe 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2621199463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CraneTakeReady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dirty="0" err="1">
                          <a:effectLst/>
                        </a:rPr>
                        <a:t>Profinet</a:t>
                      </a:r>
                      <a:r>
                        <a:rPr lang="de-CH" sz="1000" dirty="0">
                          <a:effectLst/>
                        </a:rPr>
                        <a:t> Signal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RGB zu FA: Freigabe Übernahme erlaubt 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542451821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CraneTakeStart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Profinet Signa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RBG zu FA: Start der Übernahme 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936276399"/>
                  </a:ext>
                </a:extLst>
              </a:tr>
              <a:tr h="1753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CraneTakeEnd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Profinet Signa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52" marR="6152" marT="6152" marB="6152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dirty="0">
                          <a:effectLst/>
                        </a:rPr>
                        <a:t>RBG zu FA: Ende der Übernahme 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760" marR="30760" marT="30760" marB="30760"/>
                </a:tc>
                <a:extLst>
                  <a:ext uri="{0D108BD9-81ED-4DB2-BD59-A6C34878D82A}">
                    <a16:rowId xmlns:a16="http://schemas.microsoft.com/office/drawing/2014/main" val="32524967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2985293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876248C8-0720-48AB-91BA-5F530BB41E5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220924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1261871" y="545676"/>
            <a:ext cx="9858383" cy="1325562"/>
          </a:xfrm>
        </p:spPr>
        <p:txBody>
          <a:bodyPr>
            <a:normAutofit/>
          </a:bodyPr>
          <a:lstStyle/>
          <a:p>
            <a:r>
              <a:rPr lang="de-DE" dirty="0"/>
              <a:t>Move Modul Ausgänge</a:t>
            </a:r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23BEDA7-D0B8-4802-8168-92452653BC9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" cy="6858000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2EFF34B-7B1A-4F9D-8CEE-A40962BC7C2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763724" y="0"/>
            <a:ext cx="457200" cy="6858000"/>
          </a:xfrm>
          <a:prstGeom prst="rect">
            <a:avLst/>
          </a:prstGeom>
          <a:solidFill>
            <a:schemeClr val="tx1">
              <a:lumMod val="65000"/>
              <a:lumOff val="3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aphicFrame>
        <p:nvGraphicFramePr>
          <p:cNvPr id="6" name="Inhaltsplatzhalt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90564846"/>
              </p:ext>
            </p:extLst>
          </p:nvPr>
        </p:nvGraphicFramePr>
        <p:xfrm>
          <a:off x="1382183" y="2207419"/>
          <a:ext cx="9617952" cy="381275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307020">
                  <a:extLst>
                    <a:ext uri="{9D8B030D-6E8A-4147-A177-3AD203B41FA5}">
                      <a16:colId xmlns:a16="http://schemas.microsoft.com/office/drawing/2014/main" val="990183365"/>
                    </a:ext>
                  </a:extLst>
                </a:gridCol>
                <a:gridCol w="829134">
                  <a:extLst>
                    <a:ext uri="{9D8B030D-6E8A-4147-A177-3AD203B41FA5}">
                      <a16:colId xmlns:a16="http://schemas.microsoft.com/office/drawing/2014/main" val="3411722308"/>
                    </a:ext>
                  </a:extLst>
                </a:gridCol>
                <a:gridCol w="2801474">
                  <a:extLst>
                    <a:ext uri="{9D8B030D-6E8A-4147-A177-3AD203B41FA5}">
                      <a16:colId xmlns:a16="http://schemas.microsoft.com/office/drawing/2014/main" val="1955453387"/>
                    </a:ext>
                  </a:extLst>
                </a:gridCol>
                <a:gridCol w="3680324">
                  <a:extLst>
                    <a:ext uri="{9D8B030D-6E8A-4147-A177-3AD203B41FA5}">
                      <a16:colId xmlns:a16="http://schemas.microsoft.com/office/drawing/2014/main" val="3035963532"/>
                    </a:ext>
                  </a:extLst>
                </a:gridCol>
              </a:tblGrid>
              <a:tr h="29328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Parameter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Typ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Art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68" marR="9368" marT="9368" marB="9368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Beschreibung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extLst>
                  <a:ext uri="{0D108BD9-81ED-4DB2-BD59-A6C34878D82A}">
                    <a16:rowId xmlns:a16="http://schemas.microsoft.com/office/drawing/2014/main" val="1552756013"/>
                  </a:ext>
                </a:extLst>
              </a:tr>
              <a:tr h="293289">
                <a:tc gridSpan="4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ignalisation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08847529"/>
                  </a:ext>
                </a:extLst>
              </a:tr>
              <a:tr h="293289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leaningRequest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BOO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Impulstaster mit Signallampe gelb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68" marR="9368" marT="9368" marB="9368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Lampe Reinigung erforderlich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extLst>
                  <a:ext uri="{0D108BD9-81ED-4DB2-BD59-A6C34878D82A}">
                    <a16:rowId xmlns:a16="http://schemas.microsoft.com/office/drawing/2014/main" val="2713613398"/>
                  </a:ext>
                </a:extLst>
              </a:tr>
              <a:tr h="293289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JobInProgress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BOO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ignallampe grün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68" marR="9368" marT="9368" marB="9368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Lampe Auftrag läuft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extLst>
                  <a:ext uri="{0D108BD9-81ED-4DB2-BD59-A6C34878D82A}">
                    <a16:rowId xmlns:a16="http://schemas.microsoft.com/office/drawing/2014/main" val="1095714679"/>
                  </a:ext>
                </a:extLst>
              </a:tr>
              <a:tr h="293289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JobFinished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BOO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ignallampe weiss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68" marR="9368" marT="9368" marB="9368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Lampe Auftrag beendet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extLst>
                  <a:ext uri="{0D108BD9-81ED-4DB2-BD59-A6C34878D82A}">
                    <a16:rowId xmlns:a16="http://schemas.microsoft.com/office/drawing/2014/main" val="834479055"/>
                  </a:ext>
                </a:extLst>
              </a:tr>
              <a:tr h="293289">
                <a:tc gridSpan="4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Antrieb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1866351"/>
                  </a:ext>
                </a:extLst>
              </a:tr>
              <a:tr h="293289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DriveUp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BOO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chütz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68" marR="9368" marT="9368" marB="9368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chütz Kippmotor auf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extLst>
                  <a:ext uri="{0D108BD9-81ED-4DB2-BD59-A6C34878D82A}">
                    <a16:rowId xmlns:a16="http://schemas.microsoft.com/office/drawing/2014/main" val="2385466601"/>
                  </a:ext>
                </a:extLst>
              </a:tr>
              <a:tr h="293289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DriveDown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BOO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chütz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68" marR="9368" marT="9368" marB="9368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Schütz Kippmotor ab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extLst>
                  <a:ext uri="{0D108BD9-81ED-4DB2-BD59-A6C34878D82A}">
                    <a16:rowId xmlns:a16="http://schemas.microsoft.com/office/drawing/2014/main" val="2395561761"/>
                  </a:ext>
                </a:extLst>
              </a:tr>
              <a:tr h="293289">
                <a:tc gridSpan="4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AS-AS Signale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28991873"/>
                  </a:ext>
                </a:extLst>
              </a:tr>
              <a:tr h="293289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onvTakeReady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BOO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Profinet Signa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68" marR="9368" marT="9368" marB="9368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A zu RBG: Freigabe Übergabe erlaubt 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 anchor="ctr"/>
                </a:tc>
                <a:extLst>
                  <a:ext uri="{0D108BD9-81ED-4DB2-BD59-A6C34878D82A}">
                    <a16:rowId xmlns:a16="http://schemas.microsoft.com/office/drawing/2014/main" val="2611618133"/>
                  </a:ext>
                </a:extLst>
              </a:tr>
              <a:tr h="293289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onvTakeReleaseACK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BOO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Profinet Signa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68" marR="9368" marT="9368" marB="9368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A zu RBG: Freigabe, Quittierung der Übergabe 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 anchor="ctr"/>
                </a:tc>
                <a:extLst>
                  <a:ext uri="{0D108BD9-81ED-4DB2-BD59-A6C34878D82A}">
                    <a16:rowId xmlns:a16="http://schemas.microsoft.com/office/drawing/2014/main" val="118847023"/>
                  </a:ext>
                </a:extLst>
              </a:tr>
              <a:tr h="293289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onvGiveReady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BOO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Profinet Signa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68" marR="9368" marT="9368" marB="9368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FA zu RBG: Freigabe Übergabe erlaubt 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 anchor="ctr"/>
                </a:tc>
                <a:extLst>
                  <a:ext uri="{0D108BD9-81ED-4DB2-BD59-A6C34878D82A}">
                    <a16:rowId xmlns:a16="http://schemas.microsoft.com/office/drawing/2014/main" val="3730871622"/>
                  </a:ext>
                </a:extLst>
              </a:tr>
              <a:tr h="293289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ConvGiveReleaseACK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BOO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>
                          <a:effectLst/>
                        </a:rPr>
                        <a:t>Profinet Signal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68" marR="9368" marT="9368" marB="9368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100" dirty="0">
                          <a:effectLst/>
                        </a:rPr>
                        <a:t>FA zu RBG: Freigabe, Quittierung der Übernahme 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841" marR="46841" marT="46841" marB="46841" anchor="ctr"/>
                </a:tc>
                <a:extLst>
                  <a:ext uri="{0D108BD9-81ED-4DB2-BD59-A6C34878D82A}">
                    <a16:rowId xmlns:a16="http://schemas.microsoft.com/office/drawing/2014/main" val="8919311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36270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876248C8-0720-48AB-91BA-5F530BB41E5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220924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61871" y="545676"/>
            <a:ext cx="9858383" cy="1325562"/>
          </a:xfrm>
        </p:spPr>
        <p:txBody>
          <a:bodyPr>
            <a:normAutofit/>
          </a:bodyPr>
          <a:lstStyle/>
          <a:p>
            <a:r>
              <a:rPr lang="de-DE" dirty="0"/>
              <a:t>Move Modul Parameter</a:t>
            </a: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23BEDA7-D0B8-4802-8168-92452653BC9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" cy="6858000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2EFF34B-7B1A-4F9D-8CEE-A40962BC7C2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763724" y="0"/>
            <a:ext cx="457200" cy="6858000"/>
          </a:xfrm>
          <a:prstGeom prst="rect">
            <a:avLst/>
          </a:prstGeom>
          <a:solidFill>
            <a:schemeClr val="tx1">
              <a:lumMod val="65000"/>
              <a:lumOff val="3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aphicFrame>
        <p:nvGraphicFramePr>
          <p:cNvPr id="5" name="Inhaltsplatzhalt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41639275"/>
              </p:ext>
            </p:extLst>
          </p:nvPr>
        </p:nvGraphicFramePr>
        <p:xfrm>
          <a:off x="1343217" y="2207419"/>
          <a:ext cx="9695884" cy="381276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273496">
                  <a:extLst>
                    <a:ext uri="{9D8B030D-6E8A-4147-A177-3AD203B41FA5}">
                      <a16:colId xmlns:a16="http://schemas.microsoft.com/office/drawing/2014/main" val="2851615344"/>
                    </a:ext>
                  </a:extLst>
                </a:gridCol>
                <a:gridCol w="1016438">
                  <a:extLst>
                    <a:ext uri="{9D8B030D-6E8A-4147-A177-3AD203B41FA5}">
                      <a16:colId xmlns:a16="http://schemas.microsoft.com/office/drawing/2014/main" val="1163689687"/>
                    </a:ext>
                  </a:extLst>
                </a:gridCol>
                <a:gridCol w="5405950">
                  <a:extLst>
                    <a:ext uri="{9D8B030D-6E8A-4147-A177-3AD203B41FA5}">
                      <a16:colId xmlns:a16="http://schemas.microsoft.com/office/drawing/2014/main" val="408743560"/>
                    </a:ext>
                  </a:extLst>
                </a:gridCol>
              </a:tblGrid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Parameter 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Typ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Kommentar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810969715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PlaceNumber 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DINT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Platznummer des Förderelementes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2600231715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TimeoutCrane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DINT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Timeout für Gabelspiel des RBG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1188616735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TimeoutHoisting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DINT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Überwachungszeit beim Kippen in 100ms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2970293758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TimeStay165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DINT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Zeit die auf Position 165° verharrt wird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2025212219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TakeEnable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Freigabe (nur im Nehmen aktiv)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1586964679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GiveEnable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Freigabe (nur im Geben aktiv)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3510837632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HoistEnable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Freigabe (nur bei Kippen aktiv)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3041790642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ManualApprovalButton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Freigabe Handbedienung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4087146630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SW_TestPlaceOccAfterGive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Testen ob der Platz nach Geben frei ist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3031452345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SW_SendPlaceGetsFree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Die Meldung "TE verlässt den Platz" senden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428494617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SW_SendPlaceIsFree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Die Meldung "TE hat den Platz verlassen" senden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2325702350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SW_SendPlaceOccupied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Die Meldung "Platz mit einer TE belegt" senden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1576886151"/>
                  </a:ext>
                </a:extLst>
              </a:tr>
              <a:tr h="2723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SW_SendWarningRBG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BOOL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>
                          <a:effectLst/>
                        </a:rPr>
                        <a:t> Warnung wenn RBG nicht bereit ist senden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95" marR="43495" marT="43495" marB="43495"/>
                </a:tc>
                <a:extLst>
                  <a:ext uri="{0D108BD9-81ED-4DB2-BD59-A6C34878D82A}">
                    <a16:rowId xmlns:a16="http://schemas.microsoft.com/office/drawing/2014/main" val="12072928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9412652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753252F-4873-4F63-801D-CC719279A7D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47C8CCB-F95D-4249-92DD-651249D3535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2013557" cy="6858000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0080" y="2074363"/>
            <a:ext cx="2752354" cy="2709275"/>
          </a:xfrm>
          <a:prstGeom prst="ellipse">
            <a:avLst/>
          </a:prstGeom>
          <a:solidFill>
            <a:srgbClr val="262626"/>
          </a:solidFill>
          <a:ln w="174625" cmpd="thinThick">
            <a:solidFill>
              <a:srgbClr val="262626"/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6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Move Modul State Machine (einfach)</a:t>
            </a:r>
          </a:p>
        </p:txBody>
      </p:sp>
      <p:pic>
        <p:nvPicPr>
          <p:cNvPr id="4" name="Inhaltsplatzhalt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396580" y="961812"/>
            <a:ext cx="6472238" cy="4930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378819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ve Modul State </a:t>
            </a:r>
            <a:r>
              <a:rPr lang="de-DE" dirty="0" err="1"/>
              <a:t>Machine</a:t>
            </a:r>
            <a:endParaRPr lang="en-US" dirty="0"/>
          </a:p>
        </p:txBody>
      </p:sp>
      <p:pic>
        <p:nvPicPr>
          <p:cNvPr id="4" name="Inhaltsplatzhalt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38200" y="1690688"/>
            <a:ext cx="4217894" cy="4865133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42530" y="2228570"/>
            <a:ext cx="3981450" cy="2600325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81675" y="1690687"/>
            <a:ext cx="3762375" cy="4305300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5"/>
          <a:srcRect b="5605"/>
          <a:stretch/>
        </p:blipFill>
        <p:spPr>
          <a:xfrm>
            <a:off x="7045314" y="1331969"/>
            <a:ext cx="3371850" cy="5223852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1192305" y="1735511"/>
            <a:ext cx="2043953" cy="175176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/>
          <p:nvPr/>
        </p:nvSpPr>
        <p:spPr>
          <a:xfrm>
            <a:off x="766901" y="3178828"/>
            <a:ext cx="2648652" cy="3276435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/>
        </p:nvSpPr>
        <p:spPr>
          <a:xfrm>
            <a:off x="3236258" y="2476072"/>
            <a:ext cx="2146839" cy="3979191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Inhaltsplatzhalter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00047" y="2472430"/>
            <a:ext cx="3067050" cy="3171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49589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02F3C71-C981-4614-98EA-D6C494F8091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36883" y="321176"/>
            <a:ext cx="7174247" cy="5896743"/>
          </a:xfrm>
          <a:prstGeom prst="rect">
            <a:avLst/>
          </a:prstGeom>
          <a:solidFill>
            <a:schemeClr val="tx1">
              <a:alpha val="15000"/>
            </a:schemeClr>
          </a:solidFill>
          <a:ln w="127000" cap="sq" cmpd="thinThick">
            <a:solidFill>
              <a:schemeClr val="tx1"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21516" y="640263"/>
            <a:ext cx="6204984" cy="1344975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000"/>
              <a:t>Einleitung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half" idx="2"/>
          </p:nvPr>
        </p:nvSpPr>
        <p:spPr>
          <a:xfrm>
            <a:off x="821515" y="2121762"/>
            <a:ext cx="6204984" cy="3626917"/>
          </a:xfrm>
        </p:spPr>
        <p:txBody>
          <a:bodyPr vert="horz" lIns="91440" tIns="45720" rIns="91440" bIns="45720" rtlCol="0">
            <a:normAutofit/>
          </a:bodyPr>
          <a:lstStyle/>
          <a:p>
            <a:r>
              <a:rPr lang="en-US" sz="2400"/>
              <a:t>Abschlussarbeit</a:t>
            </a:r>
          </a:p>
          <a:p>
            <a:r>
              <a:rPr lang="en-US" sz="2400"/>
              <a:t>Projekt für SFS</a:t>
            </a:r>
          </a:p>
          <a:p>
            <a:r>
              <a:rPr lang="en-US" sz="2400"/>
              <a:t>SCS Standard</a:t>
            </a:r>
          </a:p>
          <a:p>
            <a:r>
              <a:rPr lang="en-US" sz="2400"/>
              <a:t>Zeitbudget</a:t>
            </a:r>
          </a:p>
          <a:p>
            <a:endParaRPr lang="en-US" sz="240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9551" y="793018"/>
            <a:ext cx="4042409" cy="1313782"/>
          </a:xfrm>
          <a:prstGeom prst="rect">
            <a:avLst/>
          </a:prstGeom>
        </p:spPr>
      </p:pic>
      <p:pic>
        <p:nvPicPr>
          <p:cNvPr id="4" name="Inhaltsplatzhalter 3"/>
          <p:cNvPicPr>
            <a:picLocks noGrp="1" noChangeAspect="1"/>
          </p:cNvPicPr>
          <p:nvPr>
            <p:ph sz="half"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9551" y="3007518"/>
            <a:ext cx="4042410" cy="3031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939806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867D4867-5BA7-4462-B2F6-A23F4A622AA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54296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643467" y="643467"/>
            <a:ext cx="3363974" cy="1597315"/>
          </a:xfrm>
          <a:noFill/>
          <a:ln w="19050">
            <a:solidFill>
              <a:schemeClr val="bg1"/>
            </a:solidFill>
          </a:ln>
        </p:spPr>
        <p:txBody>
          <a:bodyPr vert="horz" wrap="square" lIns="91440" tIns="45720" rIns="91440" bIns="45720" rtlCol="0" anchor="ctr">
            <a:normAutofit/>
          </a:bodyPr>
          <a:lstStyle/>
          <a:p>
            <a:pPr algn="ctr"/>
            <a:r>
              <a:rPr lang="en-US" sz="28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Tests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643468" y="2638044"/>
            <a:ext cx="3363974" cy="34156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bg1"/>
                </a:solidFill>
              </a:rPr>
              <a:t>SIS Dog für Telegramme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bg1"/>
                </a:solidFill>
              </a:rPr>
              <a:t>Beobachtungstabelle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bg1"/>
                </a:solidFill>
              </a:rPr>
              <a:t>Toche Panel für Fehler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bg1"/>
                </a:solidFill>
              </a:rPr>
              <a:t>Ergebnisse werden in eine Checkliste eingetragen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>
              <a:solidFill>
                <a:schemeClr val="bg1"/>
              </a:solidFill>
            </a:endParaRPr>
          </a:p>
        </p:txBody>
      </p:sp>
      <p:pic>
        <p:nvPicPr>
          <p:cNvPr id="10" name="Inhaltsplatzhalter 9"/>
          <p:cNvPicPr>
            <a:picLocks noGrp="1" noChangeAspect="1"/>
          </p:cNvPicPr>
          <p:nvPr>
            <p:ph sz="half" idx="1"/>
          </p:nvPr>
        </p:nvPicPr>
        <p:blipFill rotWithShape="1">
          <a:blip r:embed="rId2"/>
          <a:srcRect l="432" b="15968"/>
          <a:stretch/>
        </p:blipFill>
        <p:spPr>
          <a:xfrm>
            <a:off x="4845942" y="1223472"/>
            <a:ext cx="7209079" cy="4411056"/>
          </a:xfrm>
          <a:prstGeom prst="rect">
            <a:avLst/>
          </a:prstGeom>
        </p:spPr>
      </p:pic>
      <p:pic>
        <p:nvPicPr>
          <p:cNvPr id="13" name="Inhaltsplatzhalter 10">
            <a:extLst>
              <a:ext uri="{FF2B5EF4-FFF2-40B4-BE49-F238E27FC236}">
                <a16:creationId xmlns:a16="http://schemas.microsoft.com/office/drawing/2014/main" id="{419A8C89-BCF1-48CA-9A8E-7873C4F12BDF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/>
          <a:stretch>
            <a:fillRect/>
          </a:stretch>
        </p:blipFill>
        <p:spPr>
          <a:xfrm>
            <a:off x="4800612" y="3324113"/>
            <a:ext cx="7211553" cy="2310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59001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51752"/>
            <a:ext cx="12192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56532" y="643467"/>
            <a:ext cx="11210925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2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Aufzeichnungen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8022390-9300-42B7-B652-A9CB0FF87A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1209" y="1388303"/>
            <a:ext cx="9489581" cy="5242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790525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6F9EB9F2-07E2-4D64-BBD8-BB5B217F121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21564" y="320040"/>
            <a:ext cx="11548872" cy="6217920"/>
          </a:xfrm>
          <a:prstGeom prst="rect">
            <a:avLst/>
          </a:prstGeom>
          <a:solidFill>
            <a:schemeClr val="tx1">
              <a:alpha val="12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380588" y="965199"/>
            <a:ext cx="6766078" cy="4927601"/>
          </a:xfrm>
        </p:spPr>
        <p:txBody>
          <a:bodyPr anchor="ctr">
            <a:normAutofit/>
          </a:bodyPr>
          <a:lstStyle/>
          <a:p>
            <a:pPr algn="l"/>
            <a:r>
              <a:rPr lang="de-DE" sz="5400">
                <a:solidFill>
                  <a:schemeClr val="tx1">
                    <a:lumMod val="85000"/>
                    <a:lumOff val="15000"/>
                  </a:schemeClr>
                </a:solidFill>
              </a:rPr>
              <a:t>Präsentation des Programmes</a:t>
            </a:r>
            <a:endParaRPr lang="en-US" sz="540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0C57C7C-DFE9-4A1E-B7A9-DF40E63366B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055891" y="2057399"/>
            <a:ext cx="0" cy="27432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434180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DB66F6E8-4D4A-4907-940A-774703A2D0F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9016005" y="5367908"/>
            <a:ext cx="3175996" cy="1490093"/>
          </a:xfrm>
          <a:custGeom>
            <a:avLst/>
            <a:gdLst>
              <a:gd name="connsiteX0" fmla="*/ 2485888 w 3175996"/>
              <a:gd name="connsiteY0" fmla="*/ 1490093 h 1490093"/>
              <a:gd name="connsiteX1" fmla="*/ 0 w 3175996"/>
              <a:gd name="connsiteY1" fmla="*/ 1490093 h 1490093"/>
              <a:gd name="connsiteX2" fmla="*/ 0 w 3175996"/>
              <a:gd name="connsiteY2" fmla="*/ 0 h 1490093"/>
              <a:gd name="connsiteX3" fmla="*/ 3175996 w 3175996"/>
              <a:gd name="connsiteY3" fmla="*/ 0 h 14900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75996" h="1490093">
                <a:moveTo>
                  <a:pt x="2485888" y="1490093"/>
                </a:moveTo>
                <a:lnTo>
                  <a:pt x="0" y="1490093"/>
                </a:lnTo>
                <a:lnTo>
                  <a:pt x="0" y="0"/>
                </a:lnTo>
                <a:lnTo>
                  <a:pt x="3175996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8F1F5A56-E82B-4FD5-9025-B72896FFBB6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5367908"/>
            <a:ext cx="9566296" cy="1490093"/>
          </a:xfrm>
          <a:custGeom>
            <a:avLst/>
            <a:gdLst>
              <a:gd name="connsiteX0" fmla="*/ 0 w 9566296"/>
              <a:gd name="connsiteY0" fmla="*/ 0 h 1490093"/>
              <a:gd name="connsiteX1" fmla="*/ 405267 w 9566296"/>
              <a:gd name="connsiteY1" fmla="*/ 0 h 1490093"/>
              <a:gd name="connsiteX2" fmla="*/ 631857 w 9566296"/>
              <a:gd name="connsiteY2" fmla="*/ 0 h 1490093"/>
              <a:gd name="connsiteX3" fmla="*/ 2451761 w 9566296"/>
              <a:gd name="connsiteY3" fmla="*/ 0 h 1490093"/>
              <a:gd name="connsiteX4" fmla="*/ 2901880 w 9566296"/>
              <a:gd name="connsiteY4" fmla="*/ 0 h 1490093"/>
              <a:gd name="connsiteX5" fmla="*/ 3641106 w 9566296"/>
              <a:gd name="connsiteY5" fmla="*/ 0 h 1490093"/>
              <a:gd name="connsiteX6" fmla="*/ 9566296 w 9566296"/>
              <a:gd name="connsiteY6" fmla="*/ 0 h 1490093"/>
              <a:gd name="connsiteX7" fmla="*/ 8876188 w 9566296"/>
              <a:gd name="connsiteY7" fmla="*/ 1490093 h 1490093"/>
              <a:gd name="connsiteX8" fmla="*/ 631857 w 9566296"/>
              <a:gd name="connsiteY8" fmla="*/ 1490093 h 1490093"/>
              <a:gd name="connsiteX9" fmla="*/ 405267 w 9566296"/>
              <a:gd name="connsiteY9" fmla="*/ 1490093 h 1490093"/>
              <a:gd name="connsiteX10" fmla="*/ 0 w 9566296"/>
              <a:gd name="connsiteY10" fmla="*/ 1490093 h 14900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566296" h="1490093">
                <a:moveTo>
                  <a:pt x="0" y="0"/>
                </a:moveTo>
                <a:lnTo>
                  <a:pt x="405267" y="0"/>
                </a:lnTo>
                <a:lnTo>
                  <a:pt x="631857" y="0"/>
                </a:lnTo>
                <a:lnTo>
                  <a:pt x="2451761" y="0"/>
                </a:lnTo>
                <a:lnTo>
                  <a:pt x="2901880" y="0"/>
                </a:lnTo>
                <a:lnTo>
                  <a:pt x="3641106" y="0"/>
                </a:lnTo>
                <a:lnTo>
                  <a:pt x="9566296" y="0"/>
                </a:lnTo>
                <a:lnTo>
                  <a:pt x="8876188" y="1490093"/>
                </a:lnTo>
                <a:lnTo>
                  <a:pt x="631857" y="1490093"/>
                </a:lnTo>
                <a:lnTo>
                  <a:pt x="405267" y="1490093"/>
                </a:lnTo>
                <a:lnTo>
                  <a:pt x="0" y="1490093"/>
                </a:lnTo>
                <a:close/>
              </a:path>
            </a:pathLst>
          </a:custGeom>
          <a:solidFill>
            <a:schemeClr val="tx1">
              <a:lumMod val="65000"/>
              <a:lumOff val="35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5529884"/>
            <a:ext cx="8078342" cy="1096331"/>
          </a:xfrm>
        </p:spPr>
        <p:txBody>
          <a:bodyPr>
            <a:normAutofit/>
          </a:bodyPr>
          <a:lstStyle/>
          <a:p>
            <a:r>
              <a:rPr lang="de-DE"/>
              <a:t>Fazit</a:t>
            </a:r>
            <a:endParaRPr lang="en-US"/>
          </a:p>
        </p:txBody>
      </p:sp>
      <p:graphicFrame>
        <p:nvGraphicFramePr>
          <p:cNvPr id="5" name="Inhaltsplatzhalter 2">
            <a:extLst>
              <a:ext uri="{FF2B5EF4-FFF2-40B4-BE49-F238E27FC236}">
                <a16:creationId xmlns:a16="http://schemas.microsoft.com/office/drawing/2014/main" id="{1DDC3F4C-553F-4BB2-B29E-82764B08AC8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12398485"/>
              </p:ext>
            </p:extLst>
          </p:nvPr>
        </p:nvGraphicFramePr>
        <p:xfrm>
          <a:off x="838200" y="643467"/>
          <a:ext cx="10515600" cy="40809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62872770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48A740BC-A0AA-45E0-B899-2AE9C6FE11C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913121" y="-2"/>
            <a:ext cx="6278879" cy="6858002"/>
          </a:xfrm>
          <a:custGeom>
            <a:avLst/>
            <a:gdLst>
              <a:gd name="connsiteX0" fmla="*/ 45572 w 6278879"/>
              <a:gd name="connsiteY0" fmla="*/ 0 h 6858002"/>
              <a:gd name="connsiteX1" fmla="*/ 6278879 w 6278879"/>
              <a:gd name="connsiteY1" fmla="*/ 0 h 6858002"/>
              <a:gd name="connsiteX2" fmla="*/ 6278879 w 6278879"/>
              <a:gd name="connsiteY2" fmla="*/ 6858002 h 6858002"/>
              <a:gd name="connsiteX3" fmla="*/ 3292308 w 6278879"/>
              <a:gd name="connsiteY3" fmla="*/ 6858002 h 6858002"/>
              <a:gd name="connsiteX4" fmla="*/ 3181526 w 6278879"/>
              <a:gd name="connsiteY4" fmla="*/ 6786982 h 6858002"/>
              <a:gd name="connsiteX5" fmla="*/ 0 w 6278879"/>
              <a:gd name="connsiteY5" fmla="*/ 803254 h 6858002"/>
              <a:gd name="connsiteX6" fmla="*/ 37255 w 6278879"/>
              <a:gd name="connsiteY6" fmla="*/ 65447 h 6858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78879" h="6858002">
                <a:moveTo>
                  <a:pt x="45572" y="0"/>
                </a:moveTo>
                <a:lnTo>
                  <a:pt x="6278879" y="0"/>
                </a:lnTo>
                <a:lnTo>
                  <a:pt x="6278879" y="6858002"/>
                </a:lnTo>
                <a:lnTo>
                  <a:pt x="3292308" y="6858002"/>
                </a:lnTo>
                <a:lnTo>
                  <a:pt x="3181526" y="6786982"/>
                </a:lnTo>
                <a:cubicBezTo>
                  <a:pt x="1262021" y="5490191"/>
                  <a:pt x="0" y="3294103"/>
                  <a:pt x="0" y="803254"/>
                </a:cubicBezTo>
                <a:cubicBezTo>
                  <a:pt x="0" y="554169"/>
                  <a:pt x="12620" y="308032"/>
                  <a:pt x="37255" y="65447"/>
                </a:cubicBezTo>
                <a:close/>
              </a:path>
            </a:pathLst>
          </a:custGeom>
          <a:solidFill>
            <a:schemeClr val="bg1">
              <a:lumMod val="85000"/>
              <a:lumOff val="1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55320" y="365125"/>
            <a:ext cx="9013052" cy="1623312"/>
          </a:xfrm>
        </p:spPr>
        <p:txBody>
          <a:bodyPr anchor="b">
            <a:normAutofit/>
          </a:bodyPr>
          <a:lstStyle/>
          <a:p>
            <a:r>
              <a:rPr lang="de-DE" sz="4000"/>
              <a:t>Zukunft</a:t>
            </a:r>
            <a:endParaRPr lang="en-US" sz="4000"/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B874EF51-C858-4BB9-97C3-D1775578712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763661" y="2316480"/>
            <a:ext cx="8229600" cy="0"/>
          </a:xfrm>
          <a:prstGeom prst="straightConnector1">
            <a:avLst/>
          </a:prstGeom>
          <a:ln w="19050" cap="sq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55320" y="2644518"/>
            <a:ext cx="9013052" cy="3327251"/>
          </a:xfrm>
        </p:spPr>
        <p:txBody>
          <a:bodyPr>
            <a:normAutofit/>
          </a:bodyPr>
          <a:lstStyle/>
          <a:p>
            <a:r>
              <a:rPr lang="de-DE" sz="2000"/>
              <a:t>Weiter am Projekt Arbeiten</a:t>
            </a:r>
          </a:p>
          <a:p>
            <a:r>
              <a:rPr lang="de-DE" sz="2000"/>
              <a:t>Kleinere Anpassung die nachträglich spezifiziert wurden</a:t>
            </a:r>
          </a:p>
          <a:p>
            <a:r>
              <a:rPr lang="de-DE" sz="2000"/>
              <a:t>WinCC Schnittelle definieren</a:t>
            </a:r>
          </a:p>
          <a:p>
            <a:r>
              <a:rPr lang="de-DE" sz="2000"/>
              <a:t>Pendenzenliste weiter führen und ablegen</a:t>
            </a:r>
          </a:p>
          <a:p>
            <a:r>
              <a:rPr lang="de-DE" sz="2000"/>
              <a:t>Übergabe des Projektes vor Lehrabschluss</a:t>
            </a:r>
          </a:p>
          <a:p>
            <a:endParaRPr lang="en-US" sz="2000"/>
          </a:p>
        </p:txBody>
      </p:sp>
    </p:spTree>
    <p:extLst>
      <p:ext uri="{BB962C8B-B14F-4D97-AF65-F5344CB8AC3E}">
        <p14:creationId xmlns:p14="http://schemas.microsoft.com/office/powerpoint/2010/main" val="4447778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: Shape 9">
            <a:extLst>
              <a:ext uri="{FF2B5EF4-FFF2-40B4-BE49-F238E27FC236}">
                <a16:creationId xmlns:a16="http://schemas.microsoft.com/office/drawing/2014/main" id="{42285737-90EE-47DC-AC80-8AE156B1196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V="1">
            <a:off x="-1" y="-1"/>
            <a:ext cx="4403709" cy="6858001"/>
          </a:xfrm>
          <a:custGeom>
            <a:avLst/>
            <a:gdLst>
              <a:gd name="connsiteX0" fmla="*/ 3223890 w 4403709"/>
              <a:gd name="connsiteY0" fmla="*/ 6858001 h 6858001"/>
              <a:gd name="connsiteX1" fmla="*/ 4101908 w 4403709"/>
              <a:gd name="connsiteY1" fmla="*/ 6858001 h 6858001"/>
              <a:gd name="connsiteX2" fmla="*/ 3254950 w 4403709"/>
              <a:gd name="connsiteY2" fmla="*/ 1599356 h 6858001"/>
              <a:gd name="connsiteX3" fmla="*/ 3254950 w 4403709"/>
              <a:gd name="connsiteY3" fmla="*/ 1594062 h 6858001"/>
              <a:gd name="connsiteX4" fmla="*/ 4403709 w 4403709"/>
              <a:gd name="connsiteY4" fmla="*/ 0 h 6858001"/>
              <a:gd name="connsiteX5" fmla="*/ 3254950 w 4403709"/>
              <a:gd name="connsiteY5" fmla="*/ 0 h 6858001"/>
              <a:gd name="connsiteX6" fmla="*/ 2903520 w 4403709"/>
              <a:gd name="connsiteY6" fmla="*/ 0 h 6858001"/>
              <a:gd name="connsiteX7" fmla="*/ 0 w 4403709"/>
              <a:gd name="connsiteY7" fmla="*/ 0 h 6858001"/>
              <a:gd name="connsiteX8" fmla="*/ 0 w 4403709"/>
              <a:gd name="connsiteY8" fmla="*/ 6858000 h 6858001"/>
              <a:gd name="connsiteX9" fmla="*/ 3223890 w 4403709"/>
              <a:gd name="connsiteY9" fmla="*/ 6858000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403709" h="6858001">
                <a:moveTo>
                  <a:pt x="3223890" y="6858001"/>
                </a:moveTo>
                <a:lnTo>
                  <a:pt x="4101908" y="6858001"/>
                </a:lnTo>
                <a:lnTo>
                  <a:pt x="3254950" y="1599356"/>
                </a:lnTo>
                <a:lnTo>
                  <a:pt x="3254950" y="1594062"/>
                </a:lnTo>
                <a:lnTo>
                  <a:pt x="4403709" y="0"/>
                </a:lnTo>
                <a:lnTo>
                  <a:pt x="3254950" y="0"/>
                </a:lnTo>
                <a:lnTo>
                  <a:pt x="2903520" y="0"/>
                </a:lnTo>
                <a:lnTo>
                  <a:pt x="0" y="0"/>
                </a:lnTo>
                <a:lnTo>
                  <a:pt x="0" y="6858000"/>
                </a:lnTo>
                <a:lnTo>
                  <a:pt x="3223890" y="685800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2">
            <a:schemeClr val="dk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57BDC17-F1B3-455F-BBF1-680AA1F25C0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3315292" y="0"/>
            <a:ext cx="2436813" cy="6858001"/>
            <a:chOff x="1320800" y="0"/>
            <a:chExt cx="2436813" cy="6858001"/>
          </a:xfrm>
        </p:grpSpPr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64E2FA9A-FEF7-4501-B0EB-5E45EDD2177A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627188" y="0"/>
              <a:ext cx="1122363" cy="5329238"/>
            </a:xfrm>
            <a:custGeom>
              <a:avLst/>
              <a:gdLst/>
              <a:ahLst/>
              <a:cxnLst/>
              <a:rect l="0" t="0" r="r" b="b"/>
              <a:pathLst>
                <a:path w="707" h="3357">
                  <a:moveTo>
                    <a:pt x="0" y="3330"/>
                  </a:moveTo>
                  <a:lnTo>
                    <a:pt x="156" y="3357"/>
                  </a:lnTo>
                  <a:lnTo>
                    <a:pt x="707" y="0"/>
                  </a:lnTo>
                  <a:lnTo>
                    <a:pt x="547" y="0"/>
                  </a:lnTo>
                  <a:lnTo>
                    <a:pt x="0" y="333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BC38192B-B4CB-47D4-A3B1-10010247F158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320800" y="0"/>
              <a:ext cx="1117600" cy="5276850"/>
            </a:xfrm>
            <a:custGeom>
              <a:avLst/>
              <a:gdLst/>
              <a:ahLst/>
              <a:cxnLst/>
              <a:rect l="0" t="0" r="r" b="b"/>
              <a:pathLst>
                <a:path w="704" h="3324">
                  <a:moveTo>
                    <a:pt x="704" y="0"/>
                  </a:moveTo>
                  <a:lnTo>
                    <a:pt x="545" y="0"/>
                  </a:lnTo>
                  <a:lnTo>
                    <a:pt x="0" y="3300"/>
                  </a:lnTo>
                  <a:lnTo>
                    <a:pt x="157" y="3324"/>
                  </a:lnTo>
                  <a:lnTo>
                    <a:pt x="704" y="0"/>
                  </a:lnTo>
                  <a:close/>
                </a:path>
              </a:pathLst>
            </a:custGeom>
            <a:solidFill>
              <a:srgbClr val="595959"/>
            </a:solidFill>
            <a:ln>
              <a:noFill/>
            </a:ln>
          </p:spPr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96330E33-E171-4B0F-82B5-AF7230399B5C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320800" y="5238750"/>
              <a:ext cx="1228725" cy="1619250"/>
            </a:xfrm>
            <a:custGeom>
              <a:avLst/>
              <a:gdLst/>
              <a:ahLst/>
              <a:cxnLst/>
              <a:rect l="0" t="0" r="r" b="b"/>
              <a:pathLst>
                <a:path w="774" h="1020">
                  <a:moveTo>
                    <a:pt x="0" y="0"/>
                  </a:moveTo>
                  <a:lnTo>
                    <a:pt x="740" y="1020"/>
                  </a:lnTo>
                  <a:lnTo>
                    <a:pt x="774" y="10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62626"/>
            </a:solidFill>
            <a:ln>
              <a:noFill/>
            </a:ln>
          </p:spPr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332B1723-69BF-42D7-B757-0FA059E15256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627188" y="5291138"/>
              <a:ext cx="1495425" cy="1566863"/>
            </a:xfrm>
            <a:custGeom>
              <a:avLst/>
              <a:gdLst/>
              <a:ahLst/>
              <a:cxnLst/>
              <a:rect l="0" t="0" r="r" b="b"/>
              <a:pathLst>
                <a:path w="942" h="987">
                  <a:moveTo>
                    <a:pt x="0" y="0"/>
                  </a:moveTo>
                  <a:lnTo>
                    <a:pt x="909" y="987"/>
                  </a:lnTo>
                  <a:lnTo>
                    <a:pt x="942" y="98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F115D62D-1E96-48D1-A78D-D370A0BFB9B5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627188" y="5286375"/>
              <a:ext cx="2130425" cy="1571625"/>
            </a:xfrm>
            <a:custGeom>
              <a:avLst/>
              <a:gdLst/>
              <a:ahLst/>
              <a:cxnLst/>
              <a:rect l="0" t="0" r="r" b="b"/>
              <a:pathLst>
                <a:path w="1342" h="990">
                  <a:moveTo>
                    <a:pt x="0" y="3"/>
                  </a:moveTo>
                  <a:lnTo>
                    <a:pt x="942" y="990"/>
                  </a:lnTo>
                  <a:lnTo>
                    <a:pt x="1342" y="990"/>
                  </a:lnTo>
                  <a:lnTo>
                    <a:pt x="156" y="27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91C2876A-169D-4822-A766-C00578C88B4B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320800" y="5238750"/>
              <a:ext cx="1695450" cy="1619250"/>
            </a:xfrm>
            <a:custGeom>
              <a:avLst/>
              <a:gdLst/>
              <a:ahLst/>
              <a:cxnLst/>
              <a:rect l="0" t="0" r="r" b="b"/>
              <a:pathLst>
                <a:path w="1068" h="1020">
                  <a:moveTo>
                    <a:pt x="1068" y="1020"/>
                  </a:moveTo>
                  <a:lnTo>
                    <a:pt x="184" y="60"/>
                  </a:lnTo>
                  <a:lnTo>
                    <a:pt x="154" y="27"/>
                  </a:lnTo>
                  <a:lnTo>
                    <a:pt x="157" y="27"/>
                  </a:lnTo>
                  <a:lnTo>
                    <a:pt x="157" y="24"/>
                  </a:lnTo>
                  <a:lnTo>
                    <a:pt x="154" y="24"/>
                  </a:lnTo>
                  <a:lnTo>
                    <a:pt x="0" y="0"/>
                  </a:lnTo>
                  <a:lnTo>
                    <a:pt x="0" y="0"/>
                  </a:lnTo>
                  <a:lnTo>
                    <a:pt x="774" y="1020"/>
                  </a:lnTo>
                  <a:lnTo>
                    <a:pt x="1068" y="1020"/>
                  </a:lnTo>
                  <a:close/>
                </a:path>
              </a:pathLst>
            </a:custGeom>
            <a:solidFill>
              <a:srgbClr val="404040"/>
            </a:solidFill>
            <a:ln>
              <a:noFill/>
            </a:ln>
          </p:spPr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5020" y="685800"/>
            <a:ext cx="2780271" cy="5105400"/>
          </a:xfrm>
        </p:spPr>
        <p:txBody>
          <a:bodyPr>
            <a:normAutofit/>
          </a:bodyPr>
          <a:lstStyle/>
          <a:p>
            <a:r>
              <a:rPr lang="de-DE" sz="4000">
                <a:solidFill>
                  <a:srgbClr val="FFFFFF"/>
                </a:solidFill>
              </a:rPr>
              <a:t>Inhalt</a:t>
            </a:r>
            <a:endParaRPr lang="en-US" sz="4000">
              <a:solidFill>
                <a:srgbClr val="FFFFFF"/>
              </a:solidFill>
            </a:endParaRPr>
          </a:p>
        </p:txBody>
      </p:sp>
      <p:graphicFrame>
        <p:nvGraphicFramePr>
          <p:cNvPr id="5" name="Inhaltsplatzhalter 2">
            <a:extLst>
              <a:ext uri="{FF2B5EF4-FFF2-40B4-BE49-F238E27FC236}">
                <a16:creationId xmlns:a16="http://schemas.microsoft.com/office/drawing/2014/main" id="{1AD32491-A097-497F-BD95-8FE2493A919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00929190"/>
              </p:ext>
            </p:extLst>
          </p:nvPr>
        </p:nvGraphicFramePr>
        <p:xfrm>
          <a:off x="5010150" y="685800"/>
          <a:ext cx="6492875" cy="510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3521884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nhaltsplatzhalter 22"/>
          <p:cNvPicPr>
            <a:picLocks noGrp="1"/>
          </p:cNvPicPr>
          <p:nvPr>
            <p:ph sz="half" idx="2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65" b="13446"/>
          <a:stretch/>
        </p:blipFill>
        <p:spPr bwMode="auto">
          <a:xfrm>
            <a:off x="782932" y="1582011"/>
            <a:ext cx="7755082" cy="425270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fbau der Anlage</a:t>
            </a:r>
            <a:endParaRPr lang="en-US" dirty="0"/>
          </a:p>
        </p:txBody>
      </p:sp>
      <p:sp>
        <p:nvSpPr>
          <p:cNvPr id="5" name="Inhaltsplatzhalter 4"/>
          <p:cNvSpPr>
            <a:spLocks noGrp="1"/>
          </p:cNvSpPr>
          <p:nvPr>
            <p:ph sz="half" idx="2"/>
          </p:nvPr>
        </p:nvSpPr>
        <p:spPr>
          <a:xfrm>
            <a:off x="838200" y="5148171"/>
            <a:ext cx="6651336" cy="1269598"/>
          </a:xfrm>
        </p:spPr>
        <p:txBody>
          <a:bodyPr>
            <a:normAutofit fontScale="62500" lnSpcReduction="20000"/>
          </a:bodyPr>
          <a:lstStyle/>
          <a:p>
            <a:pPr marL="0" indent="0">
              <a:buNone/>
            </a:pPr>
            <a:r>
              <a:rPr lang="de-CH" dirty="0"/>
              <a:t>Legende:</a:t>
            </a:r>
            <a:endParaRPr lang="en-US" dirty="0"/>
          </a:p>
          <a:p>
            <a:pPr marL="0" indent="0">
              <a:buNone/>
            </a:pPr>
            <a:r>
              <a:rPr lang="de-CH" dirty="0"/>
              <a:t>1: An- / Ablieferung der Paletten	4: Kippstationen</a:t>
            </a:r>
            <a:endParaRPr lang="en-US" dirty="0"/>
          </a:p>
          <a:p>
            <a:pPr marL="0" indent="0">
              <a:buNone/>
            </a:pPr>
            <a:r>
              <a:rPr lang="de-CH" dirty="0"/>
              <a:t>2: Einlagerstrecke			5: Regalbediengerät (RBG)</a:t>
            </a:r>
            <a:endParaRPr lang="en-US" dirty="0"/>
          </a:p>
          <a:p>
            <a:pPr marL="0" indent="0">
              <a:buNone/>
            </a:pPr>
            <a:r>
              <a:rPr lang="de-CH" dirty="0"/>
              <a:t>3: Auslagerstrecke</a:t>
            </a:r>
            <a:endParaRPr lang="en-US" dirty="0"/>
          </a:p>
        </p:txBody>
      </p:sp>
      <p:grpSp>
        <p:nvGrpSpPr>
          <p:cNvPr id="6" name="Gruppieren 5"/>
          <p:cNvGrpSpPr/>
          <p:nvPr/>
        </p:nvGrpSpPr>
        <p:grpSpPr>
          <a:xfrm>
            <a:off x="838200" y="1582011"/>
            <a:ext cx="7132320" cy="3566160"/>
            <a:chOff x="0" y="286247"/>
            <a:chExt cx="5826760" cy="2580778"/>
          </a:xfrm>
        </p:grpSpPr>
        <p:pic>
          <p:nvPicPr>
            <p:cNvPr id="7" name="Grafik 6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985"/>
            <a:stretch/>
          </p:blipFill>
          <p:spPr bwMode="auto">
            <a:xfrm>
              <a:off x="0" y="286247"/>
              <a:ext cx="5826760" cy="2580778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" name="Gruppieren 7"/>
            <p:cNvGrpSpPr/>
            <p:nvPr/>
          </p:nvGrpSpPr>
          <p:grpSpPr>
            <a:xfrm>
              <a:off x="2962275" y="733268"/>
              <a:ext cx="2320924" cy="2086229"/>
              <a:chOff x="2705100" y="-157"/>
              <a:chExt cx="2320924" cy="2086229"/>
            </a:xfrm>
            <a:noFill/>
          </p:grpSpPr>
          <p:sp>
            <p:nvSpPr>
              <p:cNvPr id="9" name="Text Box 2"/>
              <p:cNvSpPr txBox="1">
                <a:spLocks noChangeArrowheads="1"/>
              </p:cNvSpPr>
              <p:nvPr/>
            </p:nvSpPr>
            <p:spPr bwMode="auto">
              <a:xfrm>
                <a:off x="2705100" y="1780638"/>
                <a:ext cx="320674" cy="305434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sp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CH" sz="1400">
                    <a:solidFill>
                      <a:srgbClr val="C45911"/>
                    </a:solidFill>
                    <a:effectLst/>
                    <a:latin typeface="Arial" panose="020B0604020202020204" pitchFamily="34" charset="0"/>
                    <a:ea typeface="Times New Roman" panose="02020603050405020304" pitchFamily="18" charset="0"/>
                  </a:rPr>
                  <a:t>1</a:t>
                </a:r>
                <a:endParaRPr lang="en-US" sz="1100">
                  <a:effectLst/>
                  <a:latin typeface="Arial" panose="020B0604020202020204" pitchFamily="34" charset="0"/>
                  <a:ea typeface="Times New Roman" panose="02020603050405020304" pitchFamily="18" charset="0"/>
                </a:endParaRPr>
              </a:p>
            </p:txBody>
          </p:sp>
          <p:sp>
            <p:nvSpPr>
              <p:cNvPr id="10" name="Text Box 2"/>
              <p:cNvSpPr txBox="1">
                <a:spLocks noChangeArrowheads="1"/>
              </p:cNvSpPr>
              <p:nvPr/>
            </p:nvSpPr>
            <p:spPr bwMode="auto">
              <a:xfrm>
                <a:off x="4267200" y="1437811"/>
                <a:ext cx="320674" cy="305434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sp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CH" sz="1400">
                    <a:solidFill>
                      <a:srgbClr val="C45911"/>
                    </a:solidFill>
                    <a:effectLst/>
                    <a:latin typeface="Arial" panose="020B0604020202020204" pitchFamily="34" charset="0"/>
                    <a:ea typeface="Times New Roman" panose="02020603050405020304" pitchFamily="18" charset="0"/>
                  </a:rPr>
                  <a:t>2</a:t>
                </a:r>
                <a:endParaRPr lang="en-US" sz="1100">
                  <a:effectLst/>
                  <a:latin typeface="Arial" panose="020B0604020202020204" pitchFamily="34" charset="0"/>
                  <a:ea typeface="Times New Roman" panose="02020603050405020304" pitchFamily="18" charset="0"/>
                </a:endParaRPr>
              </a:p>
            </p:txBody>
          </p:sp>
          <p:sp>
            <p:nvSpPr>
              <p:cNvPr id="11" name="Text Box 2"/>
              <p:cNvSpPr txBox="1">
                <a:spLocks noChangeArrowheads="1"/>
              </p:cNvSpPr>
              <p:nvPr/>
            </p:nvSpPr>
            <p:spPr bwMode="auto">
              <a:xfrm>
                <a:off x="3181350" y="942617"/>
                <a:ext cx="320674" cy="305434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sp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CH" sz="1400">
                    <a:solidFill>
                      <a:srgbClr val="C45911"/>
                    </a:solidFill>
                    <a:effectLst/>
                    <a:latin typeface="Arial" panose="020B0604020202020204" pitchFamily="34" charset="0"/>
                    <a:ea typeface="Times New Roman" panose="02020603050405020304" pitchFamily="18" charset="0"/>
                  </a:rPr>
                  <a:t>3</a:t>
                </a:r>
                <a:endParaRPr lang="en-US" sz="1100">
                  <a:effectLst/>
                  <a:latin typeface="Arial" panose="020B0604020202020204" pitchFamily="34" charset="0"/>
                  <a:ea typeface="Times New Roman" panose="02020603050405020304" pitchFamily="18" charset="0"/>
                </a:endParaRPr>
              </a:p>
            </p:txBody>
          </p:sp>
          <p:sp>
            <p:nvSpPr>
              <p:cNvPr id="12" name="Text Box 2"/>
              <p:cNvSpPr txBox="1">
                <a:spLocks noChangeArrowheads="1"/>
              </p:cNvSpPr>
              <p:nvPr/>
            </p:nvSpPr>
            <p:spPr bwMode="auto">
              <a:xfrm>
                <a:off x="4695825" y="-157"/>
                <a:ext cx="320674" cy="305434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sp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CH" sz="1400">
                    <a:solidFill>
                      <a:srgbClr val="C45911"/>
                    </a:solidFill>
                    <a:effectLst/>
                    <a:latin typeface="Arial" panose="020B0604020202020204" pitchFamily="34" charset="0"/>
                    <a:ea typeface="Times New Roman" panose="02020603050405020304" pitchFamily="18" charset="0"/>
                  </a:rPr>
                  <a:t>5</a:t>
                </a:r>
                <a:endParaRPr lang="en-US" sz="1100">
                  <a:effectLst/>
                  <a:latin typeface="Arial" panose="020B0604020202020204" pitchFamily="34" charset="0"/>
                  <a:ea typeface="Times New Roman" panose="02020603050405020304" pitchFamily="18" charset="0"/>
                </a:endParaRPr>
              </a:p>
            </p:txBody>
          </p:sp>
          <p:sp>
            <p:nvSpPr>
              <p:cNvPr id="13" name="Text Box 2"/>
              <p:cNvSpPr txBox="1">
                <a:spLocks noChangeArrowheads="1"/>
              </p:cNvSpPr>
              <p:nvPr/>
            </p:nvSpPr>
            <p:spPr bwMode="auto">
              <a:xfrm>
                <a:off x="4705350" y="761680"/>
                <a:ext cx="320674" cy="305434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sp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CH" sz="1400">
                    <a:solidFill>
                      <a:srgbClr val="C45911"/>
                    </a:solidFill>
                    <a:effectLst/>
                    <a:latin typeface="Arial" panose="020B0604020202020204" pitchFamily="34" charset="0"/>
                    <a:ea typeface="Times New Roman" panose="02020603050405020304" pitchFamily="18" charset="0"/>
                  </a:rPr>
                  <a:t>4</a:t>
                </a:r>
                <a:endParaRPr lang="en-US" sz="1100">
                  <a:effectLst/>
                  <a:latin typeface="Arial" panose="020B0604020202020204" pitchFamily="34" charset="0"/>
                  <a:ea typeface="Times New Roman" panose="02020603050405020304" pitchFamily="18" charset="0"/>
                </a:endParaRPr>
              </a:p>
            </p:txBody>
          </p:sp>
        </p:grpSp>
      </p:grpSp>
      <p:sp>
        <p:nvSpPr>
          <p:cNvPr id="4" name="Textfeld 3"/>
          <p:cNvSpPr txBox="1"/>
          <p:nvPr/>
        </p:nvSpPr>
        <p:spPr>
          <a:xfrm>
            <a:off x="8593282" y="1533575"/>
            <a:ext cx="290456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de-DE" dirty="0"/>
              <a:t>Kippstation</a:t>
            </a:r>
          </a:p>
          <a:p>
            <a:pPr marL="285750" indent="-285750">
              <a:buFontTx/>
              <a:buChar char="-"/>
            </a:pPr>
            <a:r>
              <a:rPr lang="de-DE" dirty="0"/>
              <a:t>Ein- / Auslagerstrecke</a:t>
            </a:r>
          </a:p>
          <a:p>
            <a:pPr marL="285750" indent="-285750">
              <a:buFontTx/>
              <a:buChar char="-"/>
            </a:pPr>
            <a:r>
              <a:rPr lang="de-DE" dirty="0"/>
              <a:t>Regalbediengerät</a:t>
            </a:r>
          </a:p>
          <a:p>
            <a:pPr marL="285750" indent="-285750">
              <a:buFontTx/>
              <a:buChar char="-"/>
            </a:pPr>
            <a:r>
              <a:rPr lang="de-DE" dirty="0"/>
              <a:t>Externe Sortiermaschine</a:t>
            </a:r>
          </a:p>
          <a:p>
            <a:pPr marL="285750" indent="-285750">
              <a:buFontTx/>
              <a:buChar char="-"/>
            </a:pPr>
            <a:r>
              <a:rPr lang="de-DE" dirty="0"/>
              <a:t>Materialflussrechner</a:t>
            </a:r>
          </a:p>
          <a:p>
            <a:pPr marL="285750" indent="-285750">
              <a:buFontTx/>
              <a:buChar char="-"/>
            </a:pPr>
            <a:r>
              <a:rPr lang="de-DE" dirty="0"/>
              <a:t>Mitarbei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89527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867D4867-5BA7-4462-B2F6-A23F4A622AA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54296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3467" y="643467"/>
            <a:ext cx="3363974" cy="1597315"/>
          </a:xfrm>
          <a:noFill/>
          <a:ln w="19050">
            <a:solidFill>
              <a:schemeClr val="bg1"/>
            </a:solidFill>
          </a:ln>
        </p:spPr>
        <p:txBody>
          <a:bodyPr vert="horz" wrap="square" lIns="91440" tIns="45720" rIns="91440" bIns="45720" rtlCol="0" anchor="ctr">
            <a:normAutofit/>
          </a:bodyPr>
          <a:lstStyle/>
          <a:p>
            <a:pPr algn="ctr"/>
            <a:r>
              <a:rPr lang="en-US" sz="28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Aufbau der Kippstation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643468" y="2638044"/>
            <a:ext cx="3363974" cy="34156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bg1"/>
                </a:solidFill>
              </a:rPr>
              <a:t>Keine Rollen oder Förderketten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bg1"/>
                </a:solidFill>
              </a:rPr>
              <a:t>Motor zum heben und senken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bg1"/>
                </a:solidFill>
              </a:rPr>
              <a:t>Sensoren für Position und Belegung der Kippstation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bg1"/>
                </a:solidFill>
              </a:rPr>
              <a:t>Jede Kippstation hat eine eigene Bedienbox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bg1"/>
                </a:solidFill>
              </a:rPr>
              <a:t>Auftrag wird vom MFR gesendet</a:t>
            </a: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97763" y="1167727"/>
            <a:ext cx="6250769" cy="4361678"/>
          </a:xfrm>
          <a:prstGeom prst="rect">
            <a:avLst/>
          </a:prstGeom>
        </p:spPr>
      </p:pic>
      <p:pic>
        <p:nvPicPr>
          <p:cNvPr id="17" name="Inhaltsplatzhalter 5">
            <a:extLst>
              <a:ext uri="{FF2B5EF4-FFF2-40B4-BE49-F238E27FC236}">
                <a16:creationId xmlns:a16="http://schemas.microsoft.com/office/drawing/2014/main" id="{B666A6DB-CA3D-4E7D-BD3C-2AF70D40B937}"/>
              </a:ext>
            </a:extLst>
          </p:cNvPr>
          <p:cNvPicPr>
            <a:picLocks noGrp="1"/>
          </p:cNvPicPr>
          <p:nvPr>
            <p:ph sz="half"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7763" y="1167727"/>
            <a:ext cx="2913176" cy="4361678"/>
          </a:xfrm>
          <a:prstGeom prst="rect">
            <a:avLst/>
          </a:prstGeom>
        </p:spPr>
      </p:pic>
      <p:pic>
        <p:nvPicPr>
          <p:cNvPr id="19" name="Inhaltsplatzhalter 4" descr="R:\SFS-Heerbrugg\C Projekte\P-006172 AKL Sortierung\02_Arbeitsordner\04_Automation\31_Planungsgrundlagen Kippstation, FA\00_Istaufnahme\dlu_31012019\IMG_4825.JPG">
            <a:extLst>
              <a:ext uri="{FF2B5EF4-FFF2-40B4-BE49-F238E27FC236}">
                <a16:creationId xmlns:a16="http://schemas.microsoft.com/office/drawing/2014/main" id="{4319A056-B678-4280-A0B4-98D53BD127FE}"/>
              </a:ext>
            </a:extLst>
          </p:cNvPr>
          <p:cNvPicPr>
            <a:picLocks noGrp="1"/>
          </p:cNvPicPr>
          <p:nvPr>
            <p:ph sz="half" idx="2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56"/>
          <a:stretch/>
        </p:blipFill>
        <p:spPr bwMode="auto">
          <a:xfrm>
            <a:off x="8210939" y="2638044"/>
            <a:ext cx="3337593" cy="289136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123957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8929" y="629266"/>
            <a:ext cx="3505495" cy="1622321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1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Anforderungen der Kippstatio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48931" y="2438400"/>
            <a:ext cx="3505494" cy="3785419"/>
          </a:xfrm>
        </p:spPr>
        <p:txBody>
          <a:bodyPr vert="horz" lIns="91440" tIns="45720" rIns="91440" bIns="45720" rtlCol="0">
            <a:normAutofit/>
          </a:bodyPr>
          <a:lstStyle/>
          <a:p>
            <a:r>
              <a:rPr lang="en-US" sz="2000"/>
              <a:t>Automatikbetrieb</a:t>
            </a:r>
          </a:p>
          <a:p>
            <a:r>
              <a:rPr lang="en-US" sz="2000"/>
              <a:t>Handbetrieb</a:t>
            </a:r>
          </a:p>
          <a:p>
            <a:endParaRPr lang="en-US" sz="2000"/>
          </a:p>
          <a:p>
            <a:r>
              <a:rPr lang="en-US" sz="2000"/>
              <a:t>Standartablauf</a:t>
            </a:r>
          </a:p>
          <a:p>
            <a:r>
              <a:rPr lang="en-US" sz="2000"/>
              <a:t>Spezialabläufe</a:t>
            </a:r>
          </a:p>
          <a:p>
            <a:pPr lvl="1"/>
            <a:r>
              <a:rPr lang="en-US" sz="2000"/>
              <a:t>Auftragsunterbruch</a:t>
            </a:r>
          </a:p>
          <a:p>
            <a:pPr lvl="1"/>
            <a:r>
              <a:rPr lang="en-US" sz="2000"/>
              <a:t>Auftragsabbruch</a:t>
            </a:r>
          </a:p>
          <a:p>
            <a:pPr lvl="1"/>
            <a:r>
              <a:rPr lang="en-US" sz="2000"/>
              <a:t>Reinigungsinterval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E39A796-BE83-48B1-B33F-35C4A32AAB5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39056" y="0"/>
            <a:ext cx="7552944" cy="6858000"/>
          </a:xfrm>
          <a:prstGeom prst="rect">
            <a:avLst/>
          </a:prstGeom>
          <a:solidFill>
            <a:srgbClr val="C8CA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ounded Rectangle 9">
            <a:extLst>
              <a:ext uri="{FF2B5EF4-FFF2-40B4-BE49-F238E27FC236}">
                <a16:creationId xmlns:a16="http://schemas.microsoft.com/office/drawing/2014/main" id="{72F84B47-E267-4194-8194-831DB7B5547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123688" y="484632"/>
            <a:ext cx="6584098" cy="5739187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9525">
            <a:solidFill>
              <a:srgbClr val="C8CACA"/>
            </a:solidFill>
          </a:ln>
          <a:effectLst>
            <a:outerShdw blurRad="57150" dist="19050" dir="5400000" algn="t" rotWithShape="0">
              <a:prstClr val="black">
                <a:alpha val="6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Inhaltsplatzhalter 6"/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5997046" y="965595"/>
            <a:ext cx="4837380" cy="4773591"/>
          </a:xfrm>
          <a:prstGeom prst="rect">
            <a:avLst/>
          </a:prstGeom>
          <a:effectLst/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E701665D-3F65-4B38-89FF-44CCEF0D8C8D}"/>
              </a:ext>
            </a:extLst>
          </p:cNvPr>
          <p:cNvSpPr txBox="1"/>
          <p:nvPr/>
        </p:nvSpPr>
        <p:spPr>
          <a:xfrm>
            <a:off x="5123688" y="484632"/>
            <a:ext cx="39127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dirty="0"/>
              <a:t>Standardablauf:</a:t>
            </a:r>
          </a:p>
        </p:txBody>
      </p:sp>
    </p:spTree>
    <p:extLst>
      <p:ext uri="{BB962C8B-B14F-4D97-AF65-F5344CB8AC3E}">
        <p14:creationId xmlns:p14="http://schemas.microsoft.com/office/powerpoint/2010/main" val="28748068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8">
            <a:extLst>
              <a:ext uri="{FF2B5EF4-FFF2-40B4-BE49-F238E27FC236}">
                <a16:creationId xmlns:a16="http://schemas.microsoft.com/office/drawing/2014/main" id="{867D4867-5BA7-4462-B2F6-A23F4A622AA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54296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3467" y="643467"/>
            <a:ext cx="3363974" cy="1597315"/>
          </a:xfrm>
          <a:noFill/>
          <a:ln w="19050">
            <a:solidFill>
              <a:schemeClr val="bg1"/>
            </a:solidFill>
          </a:ln>
        </p:spPr>
        <p:txBody>
          <a:bodyPr vert="horz" wrap="square" lIns="91440" tIns="45720" rIns="91440" bIns="45720" rtlCol="0" anchor="ctr">
            <a:normAutofit/>
          </a:bodyPr>
          <a:lstStyle/>
          <a:p>
            <a:pPr algn="ctr"/>
            <a:r>
              <a:rPr lang="en-US" sz="28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Image im SC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2"/>
          </p:nvPr>
        </p:nvSpPr>
        <p:spPr>
          <a:xfrm>
            <a:off x="643468" y="2638044"/>
            <a:ext cx="3363974" cy="3415622"/>
          </a:xfrm>
        </p:spPr>
        <p:txBody>
          <a:bodyPr vert="horz" lIns="91440" tIns="45720" rIns="91440" bIns="45720" rtlCol="0">
            <a:normAutofit/>
          </a:bodyPr>
          <a:lstStyle/>
          <a:p>
            <a:r>
              <a:rPr lang="en-US" sz="2000">
                <a:solidFill>
                  <a:schemeClr val="bg1"/>
                </a:solidFill>
              </a:rPr>
              <a:t>Speichert Daten der Transporteinheit wie Gewicht oder Ziel</a:t>
            </a:r>
          </a:p>
          <a:p>
            <a:r>
              <a:rPr lang="en-US" sz="2000">
                <a:solidFill>
                  <a:schemeClr val="bg1"/>
                </a:solidFill>
              </a:rPr>
              <a:t>Wird vor dem eigentlichen Übertrieb übergeben</a:t>
            </a:r>
          </a:p>
          <a:p>
            <a:r>
              <a:rPr lang="en-US" sz="2000">
                <a:solidFill>
                  <a:schemeClr val="bg1"/>
                </a:solidFill>
              </a:rPr>
              <a:t>Wird gelöscht wenn die Anlage gewechselt wird. </a:t>
            </a:r>
          </a:p>
          <a:p>
            <a:endParaRPr lang="en-US" sz="2000">
              <a:solidFill>
                <a:schemeClr val="bg1"/>
              </a:solidFill>
            </a:endParaRPr>
          </a:p>
          <a:p>
            <a:endParaRPr lang="en-US" sz="2000">
              <a:solidFill>
                <a:schemeClr val="bg1"/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90665CAB-9957-411E-BD7C-44E04A63CF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00690" y="643467"/>
            <a:ext cx="6044915" cy="5410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0653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>
            <a:extLst>
              <a:ext uri="{FF2B5EF4-FFF2-40B4-BE49-F238E27FC236}">
                <a16:creationId xmlns:a16="http://schemas.microsoft.com/office/drawing/2014/main" id="{68A4132F-DEC6-4332-A00C-A11AD4519B6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" y="0"/>
            <a:ext cx="1218895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6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4910" y="1820333"/>
            <a:ext cx="3516963" cy="4036181"/>
          </a:xfrm>
          <a:prstGeom prst="rect">
            <a:avLst/>
          </a:prstGeom>
        </p:spPr>
      </p:pic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64965EAE-E41A-435F-B993-07E824B6C97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V="1">
            <a:off x="1" y="0"/>
            <a:ext cx="7539895" cy="6858000"/>
          </a:xfrm>
          <a:custGeom>
            <a:avLst/>
            <a:gdLst>
              <a:gd name="connsiteX0" fmla="*/ 7539895 w 7539895"/>
              <a:gd name="connsiteY0" fmla="*/ 6858000 h 6858000"/>
              <a:gd name="connsiteX1" fmla="*/ 0 w 7539895"/>
              <a:gd name="connsiteY1" fmla="*/ 6858000 h 6858000"/>
              <a:gd name="connsiteX2" fmla="*/ 0 w 7539895"/>
              <a:gd name="connsiteY2" fmla="*/ 0 h 6858000"/>
              <a:gd name="connsiteX3" fmla="*/ 4363741 w 7539895"/>
              <a:gd name="connsiteY3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39895" h="6858000">
                <a:moveTo>
                  <a:pt x="7539895" y="6858000"/>
                </a:moveTo>
                <a:lnTo>
                  <a:pt x="0" y="6858000"/>
                </a:lnTo>
                <a:lnTo>
                  <a:pt x="0" y="0"/>
                </a:lnTo>
                <a:lnTo>
                  <a:pt x="4363741" y="0"/>
                </a:lnTo>
                <a:close/>
              </a:path>
            </a:pathLst>
          </a:custGeom>
          <a:solidFill>
            <a:schemeClr val="bg1">
              <a:lumMod val="85000"/>
              <a:lumOff val="1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152F8994-E6D4-4311-9548-C3607BC4364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V="1">
            <a:off x="0" y="0"/>
            <a:ext cx="7092985" cy="6858000"/>
          </a:xfrm>
          <a:custGeom>
            <a:avLst/>
            <a:gdLst>
              <a:gd name="connsiteX0" fmla="*/ 7092985 w 7092985"/>
              <a:gd name="connsiteY0" fmla="*/ 6858000 h 6858000"/>
              <a:gd name="connsiteX1" fmla="*/ 0 w 7092985"/>
              <a:gd name="connsiteY1" fmla="*/ 6858000 h 6858000"/>
              <a:gd name="connsiteX2" fmla="*/ 0 w 7092985"/>
              <a:gd name="connsiteY2" fmla="*/ 0 h 6858000"/>
              <a:gd name="connsiteX3" fmla="*/ 3916831 w 7092985"/>
              <a:gd name="connsiteY3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92985" h="6858000">
                <a:moveTo>
                  <a:pt x="7092985" y="6858000"/>
                </a:moveTo>
                <a:lnTo>
                  <a:pt x="0" y="6858000"/>
                </a:lnTo>
                <a:lnTo>
                  <a:pt x="0" y="0"/>
                </a:lnTo>
                <a:lnTo>
                  <a:pt x="3916831" y="0"/>
                </a:lnTo>
                <a:close/>
              </a:path>
            </a:pathLst>
          </a:custGeom>
          <a:solidFill>
            <a:schemeClr val="bg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199" y="365125"/>
            <a:ext cx="5529943" cy="132556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Image bei der Kippstatio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2"/>
          </p:nvPr>
        </p:nvSpPr>
        <p:spPr>
          <a:xfrm>
            <a:off x="838199" y="1825625"/>
            <a:ext cx="4128169" cy="3399518"/>
          </a:xfrm>
        </p:spPr>
        <p:txBody>
          <a:bodyPr vert="horz" lIns="91440" tIns="45720" rIns="91440" bIns="45720" rtlCol="0">
            <a:normAutofit/>
          </a:bodyPr>
          <a:lstStyle/>
          <a:p>
            <a:r>
              <a:rPr lang="en-US" sz="2000"/>
              <a:t>Bestehende Image erweitert</a:t>
            </a:r>
          </a:p>
          <a:p>
            <a:r>
              <a:rPr lang="en-US" sz="2000"/>
              <a:t>Speichert zusätzliche den Kippauftrag</a:t>
            </a:r>
          </a:p>
          <a:p>
            <a:r>
              <a:rPr lang="en-US" sz="2000"/>
              <a:t>Solange eine Auftrag aktiv ist, ist ein Image vorhanden</a:t>
            </a:r>
          </a:p>
          <a:p>
            <a:r>
              <a:rPr lang="en-US" sz="2000"/>
              <a:t>Wird erst nach Auftrag beenden gelöscht</a:t>
            </a:r>
          </a:p>
          <a:p>
            <a:endParaRPr lang="en-US" sz="2000"/>
          </a:p>
          <a:p>
            <a:endParaRPr lang="en-US" sz="200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2EDB3D83-435A-4241-9D61-A342525D8025}"/>
              </a:ext>
            </a:extLst>
          </p:cNvPr>
          <p:cNvSpPr/>
          <p:nvPr/>
        </p:nvSpPr>
        <p:spPr>
          <a:xfrm>
            <a:off x="7464910" y="4317712"/>
            <a:ext cx="3516962" cy="1538802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75685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wn Arrow 7">
            <a:extLst>
              <a:ext uri="{FF2B5EF4-FFF2-40B4-BE49-F238E27FC236}">
                <a16:creationId xmlns:a16="http://schemas.microsoft.com/office/drawing/2014/main" id="{73DE2CFE-42F2-48F0-8706-5264E012B10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1288521" y="381403"/>
            <a:ext cx="2200313" cy="3342508"/>
          </a:xfrm>
          <a:prstGeom prst="downArrow">
            <a:avLst>
              <a:gd name="adj1" fmla="val 100000"/>
              <a:gd name="adj2" fmla="val 15788"/>
            </a:avLst>
          </a:prstGeom>
          <a:solidFill>
            <a:srgbClr val="404040"/>
          </a:solidFill>
          <a:ln w="539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6952" y="1204108"/>
            <a:ext cx="2669406" cy="1781175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200" kern="1200" dirty="0" err="1">
                <a:solidFill>
                  <a:srgbClr val="FFFFFF"/>
                </a:solidFill>
                <a:latin typeface="+mj-lt"/>
                <a:ea typeface="+mj-ea"/>
                <a:cs typeface="+mj-cs"/>
              </a:rPr>
              <a:t>Telegramme</a:t>
            </a:r>
            <a:endParaRPr lang="en-US" sz="32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966951" y="3355130"/>
            <a:ext cx="2669407" cy="2427333"/>
          </a:xfrm>
        </p:spPr>
        <p:txBody>
          <a:bodyPr vert="horz" lIns="91440" tIns="45720" rIns="91440" bIns="45720" rtlCol="0">
            <a:normAutofit/>
          </a:bodyPr>
          <a:lstStyle/>
          <a:p>
            <a:r>
              <a:rPr lang="en-US" sz="1600"/>
              <a:t>CTM+KS (MFR zu SPS)</a:t>
            </a:r>
          </a:p>
          <a:p>
            <a:r>
              <a:rPr lang="en-US" sz="1600"/>
              <a:t>CTM+KR (SPS zu MFR)</a:t>
            </a:r>
          </a:p>
          <a:p>
            <a:r>
              <a:rPr lang="en-US" sz="1600"/>
              <a:t>CSS+OS (SPS zu MFR)</a:t>
            </a:r>
          </a:p>
          <a:p>
            <a:endParaRPr lang="en-US" sz="160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110E3171-4430-4A78-92E3-CB0F08BEAD45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4662102" y="1425810"/>
            <a:ext cx="6903723" cy="3883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67006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67</Words>
  <Application>Microsoft Office PowerPoint</Application>
  <PresentationFormat>Breitbild</PresentationFormat>
  <Paragraphs>427</Paragraphs>
  <Slides>24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4</vt:i4>
      </vt:variant>
    </vt:vector>
  </HeadingPairs>
  <TitlesOfParts>
    <vt:vector size="31" baseType="lpstr">
      <vt:lpstr>Arial</vt:lpstr>
      <vt:lpstr>Calibri</vt:lpstr>
      <vt:lpstr>Calibri Light</vt:lpstr>
      <vt:lpstr>Courier New</vt:lpstr>
      <vt:lpstr>Times New Roman</vt:lpstr>
      <vt:lpstr>Office</vt:lpstr>
      <vt:lpstr>think-cell Folie</vt:lpstr>
      <vt:lpstr>PowerPoint-Präsentation</vt:lpstr>
      <vt:lpstr>Einleitung</vt:lpstr>
      <vt:lpstr>Inhalt</vt:lpstr>
      <vt:lpstr>Aufbau der Anlage</vt:lpstr>
      <vt:lpstr>Aufbau der Kippstation</vt:lpstr>
      <vt:lpstr>Anforderungen der Kippstation</vt:lpstr>
      <vt:lpstr>Image im SCS</vt:lpstr>
      <vt:lpstr>Image bei der Kippstation</vt:lpstr>
      <vt:lpstr>Telegramme</vt:lpstr>
      <vt:lpstr>Aufbau eines Telegrammes (CSS+OS)</vt:lpstr>
      <vt:lpstr>CTM+KS / CTS+KR Telegramm</vt:lpstr>
      <vt:lpstr>Visualisierung</vt:lpstr>
      <vt:lpstr>Visualisierung für die Präsentation</vt:lpstr>
      <vt:lpstr>Move Modul Eingänge</vt:lpstr>
      <vt:lpstr>Move Modul Eingänge</vt:lpstr>
      <vt:lpstr>Move Modul Ausgänge</vt:lpstr>
      <vt:lpstr>Move Modul Parameter</vt:lpstr>
      <vt:lpstr>Move Modul State Machine (einfach)</vt:lpstr>
      <vt:lpstr>Move Modul State Machine</vt:lpstr>
      <vt:lpstr>Tests</vt:lpstr>
      <vt:lpstr>Aufzeichnungen</vt:lpstr>
      <vt:lpstr>Präsentation des Programmes</vt:lpstr>
      <vt:lpstr>Fazit</vt:lpstr>
      <vt:lpstr>Zukunf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ippstation</dc:title>
  <dc:creator>Luca Schaefli</dc:creator>
  <cp:lastModifiedBy>Luca Schäfli</cp:lastModifiedBy>
  <cp:revision>2</cp:revision>
  <dcterms:created xsi:type="dcterms:W3CDTF">2019-04-29T14:49:16Z</dcterms:created>
  <dcterms:modified xsi:type="dcterms:W3CDTF">2019-04-29T14:59:50Z</dcterms:modified>
</cp:coreProperties>
</file>